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1944" r:id="rId2"/>
    <p:sldId id="1962" r:id="rId3"/>
    <p:sldId id="1963" r:id="rId4"/>
    <p:sldId id="1954" r:id="rId5"/>
    <p:sldId id="1964" r:id="rId6"/>
    <p:sldId id="1966" r:id="rId7"/>
    <p:sldId id="1967" r:id="rId8"/>
    <p:sldId id="1968" r:id="rId9"/>
    <p:sldId id="1969" r:id="rId10"/>
    <p:sldId id="1970" r:id="rId11"/>
    <p:sldId id="1949" r:id="rId12"/>
    <p:sldId id="1952" r:id="rId13"/>
    <p:sldId id="1957" r:id="rId14"/>
    <p:sldId id="1958" r:id="rId15"/>
    <p:sldId id="1959" r:id="rId16"/>
    <p:sldId id="1960" r:id="rId17"/>
    <p:sldId id="1961" r:id="rId18"/>
    <p:sldId id="1971" r:id="rId19"/>
    <p:sldId id="1953" r:id="rId20"/>
    <p:sldId id="1945" r:id="rId21"/>
  </p:sldIdLst>
  <p:sldSz cx="9144000" cy="6858000" type="screen4x3"/>
  <p:notesSz cx="6858000" cy="9661525"/>
  <p:custShowLst>
    <p:custShow name="Mustermann1" id="0">
      <p:sldLst/>
    </p:custShow>
  </p:custShowLst>
  <p:custDataLst>
    <p:tags r:id="rId24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990000"/>
    <a:srgbClr val="800000"/>
    <a:srgbClr val="FF3300"/>
    <a:srgbClr val="FFFFFF"/>
    <a:srgbClr val="00377E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445" autoAdjust="0"/>
    <p:restoredTop sz="94626" autoAdjust="0"/>
  </p:normalViewPr>
  <p:slideViewPr>
    <p:cSldViewPr snapToGrid="0" showGuides="1">
      <p:cViewPr varScale="1">
        <p:scale>
          <a:sx n="145" d="100"/>
          <a:sy n="145" d="100"/>
        </p:scale>
        <p:origin x="2130" y="120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0" d="100"/>
          <a:sy n="110" d="100"/>
        </p:scale>
        <p:origin x="5268" y="126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49610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03992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05986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1571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C69AB-ADCF-E041-BB63-A5BB6D80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88832"/>
            <a:ext cx="2813730" cy="253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>
                <a:solidFill>
                  <a:schemeClr val="tx1"/>
                </a:solidFill>
              </a:rPr>
              <a:t>Supervisor: Prof. Dr. Benjamin Buchwitz		 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ts val="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 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149">
            <a:extLst>
              <a:ext uri="{FF2B5EF4-FFF2-40B4-BE49-F238E27FC236}">
                <a16:creationId xmlns:a16="http://schemas.microsoft.com/office/drawing/2014/main" id="{49F098CC-1106-02C4-C030-7EAEFFB536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925170" y="6260977"/>
            <a:ext cx="2099518" cy="154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 err="1">
                <a:solidFill>
                  <a:schemeClr val="tx1"/>
                </a:solidFill>
              </a:rPr>
              <a:t>Authors</a:t>
            </a:r>
            <a:r>
              <a:rPr lang="de-DE" sz="800" dirty="0">
                <a:solidFill>
                  <a:schemeClr val="tx1"/>
                </a:solidFill>
              </a:rPr>
              <a:t>: Vladislav </a:t>
            </a:r>
            <a:r>
              <a:rPr lang="de-DE" sz="800" dirty="0" err="1">
                <a:solidFill>
                  <a:schemeClr val="tx1"/>
                </a:solidFill>
              </a:rPr>
              <a:t>Stasenko</a:t>
            </a:r>
            <a:r>
              <a:rPr lang="de-DE" sz="800" dirty="0">
                <a:solidFill>
                  <a:schemeClr val="tx1"/>
                </a:solidFill>
              </a:rPr>
              <a:t> &amp; Vitali </a:t>
            </a:r>
            <a:r>
              <a:rPr lang="de-DE" sz="800" dirty="0" err="1">
                <a:solidFill>
                  <a:schemeClr val="tx1"/>
                </a:solidFill>
              </a:rPr>
              <a:t>Krilov</a:t>
            </a:r>
            <a:endParaRPr lang="de-DE" sz="80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sv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35.svg"/><Relationship Id="rId3" Type="http://schemas.openxmlformats.org/officeDocument/2006/relationships/image" Target="../media/image29.svg"/><Relationship Id="rId7" Type="http://schemas.openxmlformats.org/officeDocument/2006/relationships/image" Target="../media/image23.svg"/><Relationship Id="rId12" Type="http://schemas.openxmlformats.org/officeDocument/2006/relationships/image" Target="../media/image34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png"/><Relationship Id="rId11" Type="http://schemas.openxmlformats.org/officeDocument/2006/relationships/image" Target="../media/image33.svg"/><Relationship Id="rId5" Type="http://schemas.openxmlformats.org/officeDocument/2006/relationships/image" Target="../media/image31.svg"/><Relationship Id="rId10" Type="http://schemas.openxmlformats.org/officeDocument/2006/relationships/image" Target="../media/image32.png"/><Relationship Id="rId4" Type="http://schemas.openxmlformats.org/officeDocument/2006/relationships/image" Target="../media/image30.png"/><Relationship Id="rId9" Type="http://schemas.openxmlformats.org/officeDocument/2006/relationships/image" Target="../media/image25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F90A49-F155-974A-9F01-65519A3C2C8A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B4F83F-38C5-C3E3-7527-7F202F351C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</p:spTree>
    <p:extLst>
      <p:ext uri="{BB962C8B-B14F-4D97-AF65-F5344CB8AC3E}">
        <p14:creationId xmlns:p14="http://schemas.microsoft.com/office/powerpoint/2010/main" val="1847368776"/>
      </p:ext>
    </p:extLst>
  </p:cSld>
  <p:clrMapOvr>
    <a:masterClrMapping/>
  </p:clrMapOvr>
  <p:transition>
    <p:dissolv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Lambda Architecture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3675987C-4F66-C465-DF77-15CE1702267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|</a:t>
            </a:r>
            <a:r>
              <a:rPr lang="de-DE" sz="900" dirty="0"/>
              <a:t> 2. Marz, N. (2015)</a:t>
            </a:r>
            <a:endParaRPr lang="de-DE" dirty="0"/>
          </a:p>
        </p:txBody>
      </p:sp>
      <p:pic>
        <p:nvPicPr>
          <p:cNvPr id="8" name="Grafik 7" descr="Ein Bild, das Text, Screenshot, Diagramm, Schrift enthält.&#10;&#10;Automatisch generierte Beschreibung">
            <a:extLst>
              <a:ext uri="{FF2B5EF4-FFF2-40B4-BE49-F238E27FC236}">
                <a16:creationId xmlns:a16="http://schemas.microsoft.com/office/drawing/2014/main" id="{12D3714E-E93B-0B8C-4BD7-BA0A423F9B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040" y="1572768"/>
            <a:ext cx="8206072" cy="3548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985416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5B3F25-0BFD-41F6-3876-18FC49FC139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History</a:t>
            </a:r>
            <a:endParaRPr lang="de-DE" dirty="0"/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81ECA508-4491-919C-0883-FA03DED3F15A}"/>
              </a:ext>
            </a:extLst>
          </p:cNvPr>
          <p:cNvSpPr/>
          <p:nvPr/>
        </p:nvSpPr>
        <p:spPr>
          <a:xfrm>
            <a:off x="573088" y="1738410"/>
            <a:ext cx="8064000" cy="56921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 dirty="0"/>
          </a:p>
        </p:txBody>
      </p:sp>
      <p:sp>
        <p:nvSpPr>
          <p:cNvPr id="10" name="Freeform: Shape 34">
            <a:extLst>
              <a:ext uri="{FF2B5EF4-FFF2-40B4-BE49-F238E27FC236}">
                <a16:creationId xmlns:a16="http://schemas.microsoft.com/office/drawing/2014/main" id="{1181D5EC-4E2B-08FE-465D-3D354B3243E0}"/>
              </a:ext>
            </a:extLst>
          </p:cNvPr>
          <p:cNvSpPr/>
          <p:nvPr/>
        </p:nvSpPr>
        <p:spPr>
          <a:xfrm>
            <a:off x="3689293" y="1738410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12" name="Freeform: Shape 36">
            <a:extLst>
              <a:ext uri="{FF2B5EF4-FFF2-40B4-BE49-F238E27FC236}">
                <a16:creationId xmlns:a16="http://schemas.microsoft.com/office/drawing/2014/main" id="{5C51546D-6AE4-73C0-59B8-7155CA1E1659}"/>
              </a:ext>
            </a:extLst>
          </p:cNvPr>
          <p:cNvSpPr/>
          <p:nvPr/>
        </p:nvSpPr>
        <p:spPr>
          <a:xfrm>
            <a:off x="7746943" y="1738410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14" name="Freeform: Shape 79">
            <a:extLst>
              <a:ext uri="{FF2B5EF4-FFF2-40B4-BE49-F238E27FC236}">
                <a16:creationId xmlns:a16="http://schemas.microsoft.com/office/drawing/2014/main" id="{E67068DA-A64E-960A-225C-8C2931621292}"/>
              </a:ext>
            </a:extLst>
          </p:cNvPr>
          <p:cNvSpPr/>
          <p:nvPr/>
        </p:nvSpPr>
        <p:spPr>
          <a:xfrm>
            <a:off x="2731768" y="1421231"/>
            <a:ext cx="1624015" cy="2940373"/>
          </a:xfrm>
          <a:custGeom>
            <a:avLst/>
            <a:gdLst>
              <a:gd name="connsiteX0" fmla="*/ 86292 w 2165353"/>
              <a:gd name="connsiteY0" fmla="*/ 0 h 3920497"/>
              <a:gd name="connsiteX1" fmla="*/ 172760 w 2165353"/>
              <a:gd name="connsiteY1" fmla="*/ 86251 h 3920497"/>
              <a:gd name="connsiteX2" fmla="*/ 105397 w 2165353"/>
              <a:gd name="connsiteY2" fmla="*/ 171718 h 3920497"/>
              <a:gd name="connsiteX3" fmla="*/ 105496 w 2165353"/>
              <a:gd name="connsiteY3" fmla="*/ 422906 h 3920497"/>
              <a:gd name="connsiteX4" fmla="*/ 2165353 w 2165353"/>
              <a:gd name="connsiteY4" fmla="*/ 422906 h 3920497"/>
              <a:gd name="connsiteX5" fmla="*/ 1484546 w 2165353"/>
              <a:gd name="connsiteY5" fmla="*/ 1181705 h 3920497"/>
              <a:gd name="connsiteX6" fmla="*/ 1481533 w 2165353"/>
              <a:gd name="connsiteY6" fmla="*/ 1181858 h 3920497"/>
              <a:gd name="connsiteX7" fmla="*/ 105794 w 2165353"/>
              <a:gd name="connsiteY7" fmla="*/ 1181858 h 3920497"/>
              <a:gd name="connsiteX8" fmla="*/ 106683 w 2165353"/>
              <a:gd name="connsiteY8" fmla="*/ 3442981 h 3920497"/>
              <a:gd name="connsiteX9" fmla="*/ 415338 w 2165353"/>
              <a:gd name="connsiteY9" fmla="*/ 3808763 h 3920497"/>
              <a:gd name="connsiteX10" fmla="*/ 497833 w 2165353"/>
              <a:gd name="connsiteY10" fmla="*/ 3747603 h 3920497"/>
              <a:gd name="connsiteX11" fmla="*/ 584242 w 2165353"/>
              <a:gd name="connsiteY11" fmla="*/ 3834246 h 3920497"/>
              <a:gd name="connsiteX12" fmla="*/ 497833 w 2165353"/>
              <a:gd name="connsiteY12" fmla="*/ 3920497 h 3920497"/>
              <a:gd name="connsiteX13" fmla="*/ 412709 w 2165353"/>
              <a:gd name="connsiteY13" fmla="*/ 3847968 h 3920497"/>
              <a:gd name="connsiteX14" fmla="*/ 67246 w 2165353"/>
              <a:gd name="connsiteY14" fmla="*/ 3440236 h 3920497"/>
              <a:gd name="connsiteX15" fmla="*/ 67246 w 2165353"/>
              <a:gd name="connsiteY15" fmla="*/ 171718 h 3920497"/>
              <a:gd name="connsiteX16" fmla="*/ 0 w 2165353"/>
              <a:gd name="connsiteY16" fmla="*/ 86251 h 3920497"/>
              <a:gd name="connsiteX17" fmla="*/ 86292 w 2165353"/>
              <a:gd name="connsiteY17" fmla="*/ 0 h 3920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5353" h="3920497">
                <a:moveTo>
                  <a:pt x="86292" y="0"/>
                </a:moveTo>
                <a:cubicBezTo>
                  <a:pt x="133324" y="0"/>
                  <a:pt x="172760" y="38029"/>
                  <a:pt x="172760" y="86251"/>
                </a:cubicBezTo>
                <a:cubicBezTo>
                  <a:pt x="172760" y="128200"/>
                  <a:pt x="143490" y="162701"/>
                  <a:pt x="105397" y="171718"/>
                </a:cubicBezTo>
                <a:lnTo>
                  <a:pt x="105496" y="422906"/>
                </a:lnTo>
                <a:lnTo>
                  <a:pt x="2165353" y="422906"/>
                </a:lnTo>
                <a:cubicBezTo>
                  <a:pt x="2165353" y="818184"/>
                  <a:pt x="1866244" y="1142686"/>
                  <a:pt x="1484546" y="1181705"/>
                </a:cubicBezTo>
                <a:lnTo>
                  <a:pt x="1481533" y="1181858"/>
                </a:lnTo>
                <a:lnTo>
                  <a:pt x="105794" y="1181858"/>
                </a:lnTo>
                <a:lnTo>
                  <a:pt x="106683" y="3442981"/>
                </a:lnTo>
                <a:cubicBezTo>
                  <a:pt x="106683" y="3626068"/>
                  <a:pt x="240007" y="3778183"/>
                  <a:pt x="415338" y="3808763"/>
                </a:cubicBezTo>
                <a:cubicBezTo>
                  <a:pt x="425445" y="3773086"/>
                  <a:pt x="458513" y="3747603"/>
                  <a:pt x="497833" y="3747603"/>
                </a:cubicBezTo>
                <a:cubicBezTo>
                  <a:pt x="544806" y="3747603"/>
                  <a:pt x="584242" y="3785632"/>
                  <a:pt x="584242" y="3834246"/>
                </a:cubicBezTo>
                <a:cubicBezTo>
                  <a:pt x="584242" y="3881292"/>
                  <a:pt x="546150" y="3920497"/>
                  <a:pt x="497833" y="3920497"/>
                </a:cubicBezTo>
                <a:cubicBezTo>
                  <a:pt x="456001" y="3920497"/>
                  <a:pt x="420362" y="3888741"/>
                  <a:pt x="412709" y="3847968"/>
                </a:cubicBezTo>
                <a:cubicBezTo>
                  <a:pt x="217221" y="3815036"/>
                  <a:pt x="67246" y="3644886"/>
                  <a:pt x="67246" y="3440236"/>
                </a:cubicBezTo>
                <a:lnTo>
                  <a:pt x="67246" y="171718"/>
                </a:lnTo>
                <a:cubicBezTo>
                  <a:pt x="27927" y="161524"/>
                  <a:pt x="0" y="127024"/>
                  <a:pt x="0" y="86251"/>
                </a:cubicBezTo>
                <a:cubicBezTo>
                  <a:pt x="0" y="39205"/>
                  <a:pt x="38092" y="0"/>
                  <a:pt x="8629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16" name="Freeform: Shape 81">
            <a:extLst>
              <a:ext uri="{FF2B5EF4-FFF2-40B4-BE49-F238E27FC236}">
                <a16:creationId xmlns:a16="http://schemas.microsoft.com/office/drawing/2014/main" id="{061B66B2-1441-30F3-2E8D-9F54EA3B13D1}"/>
              </a:ext>
            </a:extLst>
          </p:cNvPr>
          <p:cNvSpPr/>
          <p:nvPr/>
        </p:nvSpPr>
        <p:spPr>
          <a:xfrm>
            <a:off x="6788468" y="1421232"/>
            <a:ext cx="1624964" cy="2939411"/>
          </a:xfrm>
          <a:custGeom>
            <a:avLst/>
            <a:gdLst>
              <a:gd name="connsiteX0" fmla="*/ 86366 w 2166618"/>
              <a:gd name="connsiteY0" fmla="*/ 0 h 3919215"/>
              <a:gd name="connsiteX1" fmla="*/ 172731 w 2166618"/>
              <a:gd name="connsiteY1" fmla="*/ 86223 h 3919215"/>
              <a:gd name="connsiteX2" fmla="*/ 107928 w 2166618"/>
              <a:gd name="connsiteY2" fmla="*/ 170094 h 3919215"/>
              <a:gd name="connsiteX3" fmla="*/ 108025 w 2166618"/>
              <a:gd name="connsiteY3" fmla="*/ 422905 h 3919215"/>
              <a:gd name="connsiteX4" fmla="*/ 2166618 w 2166618"/>
              <a:gd name="connsiteY4" fmla="*/ 422905 h 3919215"/>
              <a:gd name="connsiteX5" fmla="*/ 1485781 w 2166618"/>
              <a:gd name="connsiteY5" fmla="*/ 1180408 h 3919215"/>
              <a:gd name="connsiteX6" fmla="*/ 1457202 w 2166618"/>
              <a:gd name="connsiteY6" fmla="*/ 1181857 h 3919215"/>
              <a:gd name="connsiteX7" fmla="*/ 108315 w 2166618"/>
              <a:gd name="connsiteY7" fmla="*/ 1181857 h 3919215"/>
              <a:gd name="connsiteX8" fmla="*/ 109180 w 2166618"/>
              <a:gd name="connsiteY8" fmla="*/ 3441463 h 3919215"/>
              <a:gd name="connsiteX9" fmla="*/ 401332 w 2166618"/>
              <a:gd name="connsiteY9" fmla="*/ 3804774 h 3919215"/>
              <a:gd name="connsiteX10" fmla="*/ 482577 w 2166618"/>
              <a:gd name="connsiteY10" fmla="*/ 3746378 h 3919215"/>
              <a:gd name="connsiteX11" fmla="*/ 568943 w 2166618"/>
              <a:gd name="connsiteY11" fmla="*/ 3832992 h 3919215"/>
              <a:gd name="connsiteX12" fmla="*/ 482577 w 2166618"/>
              <a:gd name="connsiteY12" fmla="*/ 3919215 h 3919215"/>
              <a:gd name="connsiteX13" fmla="*/ 396212 w 2166618"/>
              <a:gd name="connsiteY13" fmla="*/ 3844358 h 3919215"/>
              <a:gd name="connsiteX14" fmla="*/ 68615 w 2166618"/>
              <a:gd name="connsiteY14" fmla="*/ 3440287 h 3919215"/>
              <a:gd name="connsiteX15" fmla="*/ 68615 w 2166618"/>
              <a:gd name="connsiteY15" fmla="*/ 171662 h 3919215"/>
              <a:gd name="connsiteX16" fmla="*/ 0 w 2166618"/>
              <a:gd name="connsiteY16" fmla="*/ 86223 h 3919215"/>
              <a:gd name="connsiteX17" fmla="*/ 86366 w 2166618"/>
              <a:gd name="connsiteY17" fmla="*/ 0 h 3919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6618" h="3919215">
                <a:moveTo>
                  <a:pt x="86366" y="0"/>
                </a:moveTo>
                <a:cubicBezTo>
                  <a:pt x="133360" y="0"/>
                  <a:pt x="172731" y="38016"/>
                  <a:pt x="172731" y="86223"/>
                </a:cubicBezTo>
                <a:cubicBezTo>
                  <a:pt x="172731" y="126982"/>
                  <a:pt x="145991" y="159904"/>
                  <a:pt x="107928" y="170094"/>
                </a:cubicBezTo>
                <a:lnTo>
                  <a:pt x="108025" y="422905"/>
                </a:lnTo>
                <a:lnTo>
                  <a:pt x="2166618" y="422905"/>
                </a:lnTo>
                <a:cubicBezTo>
                  <a:pt x="2166618" y="817584"/>
                  <a:pt x="1867511" y="1141464"/>
                  <a:pt x="1485781" y="1180408"/>
                </a:cubicBezTo>
                <a:lnTo>
                  <a:pt x="1457202" y="1181857"/>
                </a:lnTo>
                <a:lnTo>
                  <a:pt x="108315" y="1181857"/>
                </a:lnTo>
                <a:lnTo>
                  <a:pt x="109180" y="3441463"/>
                </a:lnTo>
                <a:cubicBezTo>
                  <a:pt x="109180" y="3619395"/>
                  <a:pt x="234973" y="3767933"/>
                  <a:pt x="401332" y="3804774"/>
                </a:cubicBezTo>
                <a:cubicBezTo>
                  <a:pt x="412768" y="3770677"/>
                  <a:pt x="444515" y="3746378"/>
                  <a:pt x="482577" y="3746378"/>
                </a:cubicBezTo>
                <a:cubicBezTo>
                  <a:pt x="529572" y="3746378"/>
                  <a:pt x="568943" y="3784394"/>
                  <a:pt x="568943" y="3832992"/>
                </a:cubicBezTo>
                <a:cubicBezTo>
                  <a:pt x="568943" y="3880023"/>
                  <a:pt x="530824" y="3919215"/>
                  <a:pt x="482577" y="3919215"/>
                </a:cubicBezTo>
                <a:cubicBezTo>
                  <a:pt x="438200" y="3919215"/>
                  <a:pt x="401332" y="3887469"/>
                  <a:pt x="396212" y="3844358"/>
                </a:cubicBezTo>
                <a:cubicBezTo>
                  <a:pt x="209542" y="3804774"/>
                  <a:pt x="68615" y="3638599"/>
                  <a:pt x="68615" y="3440287"/>
                </a:cubicBezTo>
                <a:lnTo>
                  <a:pt x="68615" y="171662"/>
                </a:lnTo>
                <a:cubicBezTo>
                  <a:pt x="29187" y="162647"/>
                  <a:pt x="0" y="128158"/>
                  <a:pt x="0" y="86223"/>
                </a:cubicBezTo>
                <a:cubicBezTo>
                  <a:pt x="0" y="39192"/>
                  <a:pt x="39371" y="0"/>
                  <a:pt x="86366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 dirty="0"/>
          </a:p>
        </p:txBody>
      </p:sp>
      <p:sp>
        <p:nvSpPr>
          <p:cNvPr id="21" name="TextBox 86">
            <a:extLst>
              <a:ext uri="{FF2B5EF4-FFF2-40B4-BE49-F238E27FC236}">
                <a16:creationId xmlns:a16="http://schemas.microsoft.com/office/drawing/2014/main" id="{135A5C42-9550-AE08-430C-4F68B0BD61F7}"/>
              </a:ext>
            </a:extLst>
          </p:cNvPr>
          <p:cNvSpPr txBox="1"/>
          <p:nvPr/>
        </p:nvSpPr>
        <p:spPr>
          <a:xfrm>
            <a:off x="823187" y="2318148"/>
            <a:ext cx="1392825" cy="707886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irst research prototyp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irst commercial products</a:t>
            </a:r>
          </a:p>
        </p:txBody>
      </p:sp>
      <p:sp>
        <p:nvSpPr>
          <p:cNvPr id="22" name="TextBox 87">
            <a:extLst>
              <a:ext uri="{FF2B5EF4-FFF2-40B4-BE49-F238E27FC236}">
                <a16:creationId xmlns:a16="http://schemas.microsoft.com/office/drawing/2014/main" id="{0E95E787-2B29-7F4F-6685-39EF19560572}"/>
              </a:ext>
            </a:extLst>
          </p:cNvPr>
          <p:cNvSpPr txBox="1"/>
          <p:nvPr/>
        </p:nvSpPr>
        <p:spPr>
          <a:xfrm>
            <a:off x="2903989" y="2376150"/>
            <a:ext cx="1411553" cy="116955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Growing availability of mature open-source stream processors and communiti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mproving with new features and capabilities</a:t>
            </a:r>
          </a:p>
        </p:txBody>
      </p:sp>
      <p:sp>
        <p:nvSpPr>
          <p:cNvPr id="63" name="TextBox 90">
            <a:extLst>
              <a:ext uri="{FF2B5EF4-FFF2-40B4-BE49-F238E27FC236}">
                <a16:creationId xmlns:a16="http://schemas.microsoft.com/office/drawing/2014/main" id="{419D67E6-218B-241A-2C57-9C48ACE3D446}"/>
              </a:ext>
            </a:extLst>
          </p:cNvPr>
          <p:cNvSpPr txBox="1"/>
          <p:nvPr/>
        </p:nvSpPr>
        <p:spPr>
          <a:xfrm>
            <a:off x="740628" y="1319048"/>
            <a:ext cx="1392826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from</a:t>
            </a:r>
            <a:r>
              <a:rPr lang="en-US" sz="24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 </a:t>
            </a:r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1995</a:t>
            </a:r>
          </a:p>
        </p:txBody>
      </p:sp>
      <p:sp>
        <p:nvSpPr>
          <p:cNvPr id="64" name="TextBox 90">
            <a:extLst>
              <a:ext uri="{FF2B5EF4-FFF2-40B4-BE49-F238E27FC236}">
                <a16:creationId xmlns:a16="http://schemas.microsoft.com/office/drawing/2014/main" id="{0EA11D39-928E-867D-62D6-BD7CDF876D04}"/>
              </a:ext>
            </a:extLst>
          </p:cNvPr>
          <p:cNvSpPr txBox="1"/>
          <p:nvPr/>
        </p:nvSpPr>
        <p:spPr>
          <a:xfrm>
            <a:off x="4856122" y="1365215"/>
            <a:ext cx="1392826" cy="41549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2011</a:t>
            </a:r>
          </a:p>
        </p:txBody>
      </p:sp>
      <p:sp>
        <p:nvSpPr>
          <p:cNvPr id="65" name="TextBox 90">
            <a:extLst>
              <a:ext uri="{FF2B5EF4-FFF2-40B4-BE49-F238E27FC236}">
                <a16:creationId xmlns:a16="http://schemas.microsoft.com/office/drawing/2014/main" id="{2CCCE5A8-9129-6DBC-3867-E5843AA1C384}"/>
              </a:ext>
            </a:extLst>
          </p:cNvPr>
          <p:cNvSpPr txBox="1"/>
          <p:nvPr/>
        </p:nvSpPr>
        <p:spPr>
          <a:xfrm>
            <a:off x="2842057" y="1372072"/>
            <a:ext cx="1392826" cy="41549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from</a:t>
            </a:r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 2000</a:t>
            </a:r>
          </a:p>
        </p:txBody>
      </p:sp>
      <p:sp>
        <p:nvSpPr>
          <p:cNvPr id="66" name="TextBox 90">
            <a:extLst>
              <a:ext uri="{FF2B5EF4-FFF2-40B4-BE49-F238E27FC236}">
                <a16:creationId xmlns:a16="http://schemas.microsoft.com/office/drawing/2014/main" id="{FB14746E-7653-823F-9211-1867EE6942F8}"/>
              </a:ext>
            </a:extLst>
          </p:cNvPr>
          <p:cNvSpPr txBox="1"/>
          <p:nvPr/>
        </p:nvSpPr>
        <p:spPr>
          <a:xfrm>
            <a:off x="6950796" y="1360660"/>
            <a:ext cx="1392826" cy="41549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2013</a:t>
            </a:r>
          </a:p>
        </p:txBody>
      </p:sp>
      <p:sp>
        <p:nvSpPr>
          <p:cNvPr id="75" name="TextBox 90">
            <a:extLst>
              <a:ext uri="{FF2B5EF4-FFF2-40B4-BE49-F238E27FC236}">
                <a16:creationId xmlns:a16="http://schemas.microsoft.com/office/drawing/2014/main" id="{87E89B69-984C-3A16-89D6-A6DA2F15D960}"/>
              </a:ext>
            </a:extLst>
          </p:cNvPr>
          <p:cNvSpPr txBox="1"/>
          <p:nvPr/>
        </p:nvSpPr>
        <p:spPr>
          <a:xfrm>
            <a:off x="2842057" y="1851239"/>
            <a:ext cx="1392826" cy="30777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Community</a:t>
            </a:r>
            <a:endParaRPr lang="en-US" sz="1400" noProof="1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5" name="Freeform: Shape 34">
            <a:extLst>
              <a:ext uri="{FF2B5EF4-FFF2-40B4-BE49-F238E27FC236}">
                <a16:creationId xmlns:a16="http://schemas.microsoft.com/office/drawing/2014/main" id="{6CCB4EDE-8A32-9440-97DC-9298F4E9B7E3}"/>
              </a:ext>
            </a:extLst>
          </p:cNvPr>
          <p:cNvSpPr/>
          <p:nvPr/>
        </p:nvSpPr>
        <p:spPr>
          <a:xfrm>
            <a:off x="1582559" y="1744424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86" name="Freeform: Shape 79">
            <a:extLst>
              <a:ext uri="{FF2B5EF4-FFF2-40B4-BE49-F238E27FC236}">
                <a16:creationId xmlns:a16="http://schemas.microsoft.com/office/drawing/2014/main" id="{34CFECC8-BEB9-DD9D-11DB-93A700527F84}"/>
              </a:ext>
            </a:extLst>
          </p:cNvPr>
          <p:cNvSpPr/>
          <p:nvPr/>
        </p:nvSpPr>
        <p:spPr>
          <a:xfrm>
            <a:off x="625034" y="1427245"/>
            <a:ext cx="1624015" cy="2940373"/>
          </a:xfrm>
          <a:custGeom>
            <a:avLst/>
            <a:gdLst>
              <a:gd name="connsiteX0" fmla="*/ 86292 w 2165353"/>
              <a:gd name="connsiteY0" fmla="*/ 0 h 3920497"/>
              <a:gd name="connsiteX1" fmla="*/ 172760 w 2165353"/>
              <a:gd name="connsiteY1" fmla="*/ 86251 h 3920497"/>
              <a:gd name="connsiteX2" fmla="*/ 105397 w 2165353"/>
              <a:gd name="connsiteY2" fmla="*/ 171718 h 3920497"/>
              <a:gd name="connsiteX3" fmla="*/ 105496 w 2165353"/>
              <a:gd name="connsiteY3" fmla="*/ 422906 h 3920497"/>
              <a:gd name="connsiteX4" fmla="*/ 2165353 w 2165353"/>
              <a:gd name="connsiteY4" fmla="*/ 422906 h 3920497"/>
              <a:gd name="connsiteX5" fmla="*/ 1484546 w 2165353"/>
              <a:gd name="connsiteY5" fmla="*/ 1181705 h 3920497"/>
              <a:gd name="connsiteX6" fmla="*/ 1481533 w 2165353"/>
              <a:gd name="connsiteY6" fmla="*/ 1181858 h 3920497"/>
              <a:gd name="connsiteX7" fmla="*/ 105794 w 2165353"/>
              <a:gd name="connsiteY7" fmla="*/ 1181858 h 3920497"/>
              <a:gd name="connsiteX8" fmla="*/ 106683 w 2165353"/>
              <a:gd name="connsiteY8" fmla="*/ 3442981 h 3920497"/>
              <a:gd name="connsiteX9" fmla="*/ 415338 w 2165353"/>
              <a:gd name="connsiteY9" fmla="*/ 3808763 h 3920497"/>
              <a:gd name="connsiteX10" fmla="*/ 497833 w 2165353"/>
              <a:gd name="connsiteY10" fmla="*/ 3747603 h 3920497"/>
              <a:gd name="connsiteX11" fmla="*/ 584242 w 2165353"/>
              <a:gd name="connsiteY11" fmla="*/ 3834246 h 3920497"/>
              <a:gd name="connsiteX12" fmla="*/ 497833 w 2165353"/>
              <a:gd name="connsiteY12" fmla="*/ 3920497 h 3920497"/>
              <a:gd name="connsiteX13" fmla="*/ 412709 w 2165353"/>
              <a:gd name="connsiteY13" fmla="*/ 3847968 h 3920497"/>
              <a:gd name="connsiteX14" fmla="*/ 67246 w 2165353"/>
              <a:gd name="connsiteY14" fmla="*/ 3440236 h 3920497"/>
              <a:gd name="connsiteX15" fmla="*/ 67246 w 2165353"/>
              <a:gd name="connsiteY15" fmla="*/ 171718 h 3920497"/>
              <a:gd name="connsiteX16" fmla="*/ 0 w 2165353"/>
              <a:gd name="connsiteY16" fmla="*/ 86251 h 3920497"/>
              <a:gd name="connsiteX17" fmla="*/ 86292 w 2165353"/>
              <a:gd name="connsiteY17" fmla="*/ 0 h 3920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5353" h="3920497">
                <a:moveTo>
                  <a:pt x="86292" y="0"/>
                </a:moveTo>
                <a:cubicBezTo>
                  <a:pt x="133324" y="0"/>
                  <a:pt x="172760" y="38029"/>
                  <a:pt x="172760" y="86251"/>
                </a:cubicBezTo>
                <a:cubicBezTo>
                  <a:pt x="172760" y="128200"/>
                  <a:pt x="143490" y="162701"/>
                  <a:pt x="105397" y="171718"/>
                </a:cubicBezTo>
                <a:lnTo>
                  <a:pt x="105496" y="422906"/>
                </a:lnTo>
                <a:lnTo>
                  <a:pt x="2165353" y="422906"/>
                </a:lnTo>
                <a:cubicBezTo>
                  <a:pt x="2165353" y="818184"/>
                  <a:pt x="1866244" y="1142686"/>
                  <a:pt x="1484546" y="1181705"/>
                </a:cubicBezTo>
                <a:lnTo>
                  <a:pt x="1481533" y="1181858"/>
                </a:lnTo>
                <a:lnTo>
                  <a:pt x="105794" y="1181858"/>
                </a:lnTo>
                <a:lnTo>
                  <a:pt x="106683" y="3442981"/>
                </a:lnTo>
                <a:cubicBezTo>
                  <a:pt x="106683" y="3626068"/>
                  <a:pt x="240007" y="3778183"/>
                  <a:pt x="415338" y="3808763"/>
                </a:cubicBezTo>
                <a:cubicBezTo>
                  <a:pt x="425445" y="3773086"/>
                  <a:pt x="458513" y="3747603"/>
                  <a:pt x="497833" y="3747603"/>
                </a:cubicBezTo>
                <a:cubicBezTo>
                  <a:pt x="544806" y="3747603"/>
                  <a:pt x="584242" y="3785632"/>
                  <a:pt x="584242" y="3834246"/>
                </a:cubicBezTo>
                <a:cubicBezTo>
                  <a:pt x="584242" y="3881292"/>
                  <a:pt x="546150" y="3920497"/>
                  <a:pt x="497833" y="3920497"/>
                </a:cubicBezTo>
                <a:cubicBezTo>
                  <a:pt x="456001" y="3920497"/>
                  <a:pt x="420362" y="3888741"/>
                  <a:pt x="412709" y="3847968"/>
                </a:cubicBezTo>
                <a:cubicBezTo>
                  <a:pt x="217221" y="3815036"/>
                  <a:pt x="67246" y="3644886"/>
                  <a:pt x="67246" y="3440236"/>
                </a:cubicBezTo>
                <a:lnTo>
                  <a:pt x="67246" y="171718"/>
                </a:lnTo>
                <a:cubicBezTo>
                  <a:pt x="27927" y="161524"/>
                  <a:pt x="0" y="127024"/>
                  <a:pt x="0" y="86251"/>
                </a:cubicBezTo>
                <a:cubicBezTo>
                  <a:pt x="0" y="39205"/>
                  <a:pt x="38092" y="0"/>
                  <a:pt x="8629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88" name="TextBox 90">
            <a:extLst>
              <a:ext uri="{FF2B5EF4-FFF2-40B4-BE49-F238E27FC236}">
                <a16:creationId xmlns:a16="http://schemas.microsoft.com/office/drawing/2014/main" id="{9C77EF8A-226D-95F8-DD9D-83F7BF5B7611}"/>
              </a:ext>
            </a:extLst>
          </p:cNvPr>
          <p:cNvSpPr txBox="1"/>
          <p:nvPr/>
        </p:nvSpPr>
        <p:spPr>
          <a:xfrm>
            <a:off x="692904" y="1858214"/>
            <a:ext cx="1392826" cy="30777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Community</a:t>
            </a:r>
            <a:endParaRPr lang="en-US" sz="1400" noProof="1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0" name="Freeform: Shape 34">
            <a:extLst>
              <a:ext uri="{FF2B5EF4-FFF2-40B4-BE49-F238E27FC236}">
                <a16:creationId xmlns:a16="http://schemas.microsoft.com/office/drawing/2014/main" id="{3A611A86-4867-A3E9-9362-944C2D077643}"/>
              </a:ext>
            </a:extLst>
          </p:cNvPr>
          <p:cNvSpPr/>
          <p:nvPr/>
        </p:nvSpPr>
        <p:spPr>
          <a:xfrm>
            <a:off x="5712898" y="1738410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91" name="Freeform: Shape 79">
            <a:extLst>
              <a:ext uri="{FF2B5EF4-FFF2-40B4-BE49-F238E27FC236}">
                <a16:creationId xmlns:a16="http://schemas.microsoft.com/office/drawing/2014/main" id="{2E82EE23-4982-CC44-66D0-00EF8F08E13A}"/>
              </a:ext>
            </a:extLst>
          </p:cNvPr>
          <p:cNvSpPr/>
          <p:nvPr/>
        </p:nvSpPr>
        <p:spPr>
          <a:xfrm>
            <a:off x="4755373" y="1421231"/>
            <a:ext cx="1624015" cy="2940373"/>
          </a:xfrm>
          <a:custGeom>
            <a:avLst/>
            <a:gdLst>
              <a:gd name="connsiteX0" fmla="*/ 86292 w 2165353"/>
              <a:gd name="connsiteY0" fmla="*/ 0 h 3920497"/>
              <a:gd name="connsiteX1" fmla="*/ 172760 w 2165353"/>
              <a:gd name="connsiteY1" fmla="*/ 86251 h 3920497"/>
              <a:gd name="connsiteX2" fmla="*/ 105397 w 2165353"/>
              <a:gd name="connsiteY2" fmla="*/ 171718 h 3920497"/>
              <a:gd name="connsiteX3" fmla="*/ 105496 w 2165353"/>
              <a:gd name="connsiteY3" fmla="*/ 422906 h 3920497"/>
              <a:gd name="connsiteX4" fmla="*/ 2165353 w 2165353"/>
              <a:gd name="connsiteY4" fmla="*/ 422906 h 3920497"/>
              <a:gd name="connsiteX5" fmla="*/ 1484546 w 2165353"/>
              <a:gd name="connsiteY5" fmla="*/ 1181705 h 3920497"/>
              <a:gd name="connsiteX6" fmla="*/ 1481533 w 2165353"/>
              <a:gd name="connsiteY6" fmla="*/ 1181858 h 3920497"/>
              <a:gd name="connsiteX7" fmla="*/ 105794 w 2165353"/>
              <a:gd name="connsiteY7" fmla="*/ 1181858 h 3920497"/>
              <a:gd name="connsiteX8" fmla="*/ 106683 w 2165353"/>
              <a:gd name="connsiteY8" fmla="*/ 3442981 h 3920497"/>
              <a:gd name="connsiteX9" fmla="*/ 415338 w 2165353"/>
              <a:gd name="connsiteY9" fmla="*/ 3808763 h 3920497"/>
              <a:gd name="connsiteX10" fmla="*/ 497833 w 2165353"/>
              <a:gd name="connsiteY10" fmla="*/ 3747603 h 3920497"/>
              <a:gd name="connsiteX11" fmla="*/ 584242 w 2165353"/>
              <a:gd name="connsiteY11" fmla="*/ 3834246 h 3920497"/>
              <a:gd name="connsiteX12" fmla="*/ 497833 w 2165353"/>
              <a:gd name="connsiteY12" fmla="*/ 3920497 h 3920497"/>
              <a:gd name="connsiteX13" fmla="*/ 412709 w 2165353"/>
              <a:gd name="connsiteY13" fmla="*/ 3847968 h 3920497"/>
              <a:gd name="connsiteX14" fmla="*/ 67246 w 2165353"/>
              <a:gd name="connsiteY14" fmla="*/ 3440236 h 3920497"/>
              <a:gd name="connsiteX15" fmla="*/ 67246 w 2165353"/>
              <a:gd name="connsiteY15" fmla="*/ 171718 h 3920497"/>
              <a:gd name="connsiteX16" fmla="*/ 0 w 2165353"/>
              <a:gd name="connsiteY16" fmla="*/ 86251 h 3920497"/>
              <a:gd name="connsiteX17" fmla="*/ 86292 w 2165353"/>
              <a:gd name="connsiteY17" fmla="*/ 0 h 3920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5353" h="3920497">
                <a:moveTo>
                  <a:pt x="86292" y="0"/>
                </a:moveTo>
                <a:cubicBezTo>
                  <a:pt x="133324" y="0"/>
                  <a:pt x="172760" y="38029"/>
                  <a:pt x="172760" y="86251"/>
                </a:cubicBezTo>
                <a:cubicBezTo>
                  <a:pt x="172760" y="128200"/>
                  <a:pt x="143490" y="162701"/>
                  <a:pt x="105397" y="171718"/>
                </a:cubicBezTo>
                <a:lnTo>
                  <a:pt x="105496" y="422906"/>
                </a:lnTo>
                <a:lnTo>
                  <a:pt x="2165353" y="422906"/>
                </a:lnTo>
                <a:cubicBezTo>
                  <a:pt x="2165353" y="818184"/>
                  <a:pt x="1866244" y="1142686"/>
                  <a:pt x="1484546" y="1181705"/>
                </a:cubicBezTo>
                <a:lnTo>
                  <a:pt x="1481533" y="1181858"/>
                </a:lnTo>
                <a:lnTo>
                  <a:pt x="105794" y="1181858"/>
                </a:lnTo>
                <a:lnTo>
                  <a:pt x="106683" y="3442981"/>
                </a:lnTo>
                <a:cubicBezTo>
                  <a:pt x="106683" y="3626068"/>
                  <a:pt x="240007" y="3778183"/>
                  <a:pt x="415338" y="3808763"/>
                </a:cubicBezTo>
                <a:cubicBezTo>
                  <a:pt x="425445" y="3773086"/>
                  <a:pt x="458513" y="3747603"/>
                  <a:pt x="497833" y="3747603"/>
                </a:cubicBezTo>
                <a:cubicBezTo>
                  <a:pt x="544806" y="3747603"/>
                  <a:pt x="584242" y="3785632"/>
                  <a:pt x="584242" y="3834246"/>
                </a:cubicBezTo>
                <a:cubicBezTo>
                  <a:pt x="584242" y="3881292"/>
                  <a:pt x="546150" y="3920497"/>
                  <a:pt x="497833" y="3920497"/>
                </a:cubicBezTo>
                <a:cubicBezTo>
                  <a:pt x="456001" y="3920497"/>
                  <a:pt x="420362" y="3888741"/>
                  <a:pt x="412709" y="3847968"/>
                </a:cubicBezTo>
                <a:cubicBezTo>
                  <a:pt x="217221" y="3815036"/>
                  <a:pt x="67246" y="3644886"/>
                  <a:pt x="67246" y="3440236"/>
                </a:cubicBezTo>
                <a:lnTo>
                  <a:pt x="67246" y="171718"/>
                </a:lnTo>
                <a:cubicBezTo>
                  <a:pt x="27927" y="161524"/>
                  <a:pt x="0" y="127024"/>
                  <a:pt x="0" y="86251"/>
                </a:cubicBezTo>
                <a:cubicBezTo>
                  <a:pt x="0" y="39205"/>
                  <a:pt x="38092" y="0"/>
                  <a:pt x="8629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lang="de-DE" sz="2250"/>
          </a:p>
        </p:txBody>
      </p:sp>
      <p:pic>
        <p:nvPicPr>
          <p:cNvPr id="101" name="Grafik 100" descr="Verbindungen Silhouette">
            <a:extLst>
              <a:ext uri="{FF2B5EF4-FFF2-40B4-BE49-F238E27FC236}">
                <a16:creationId xmlns:a16="http://schemas.microsoft.com/office/drawing/2014/main" id="{A0557D65-688B-D54E-965A-F429FE702B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65051" y="4077164"/>
            <a:ext cx="717489" cy="717489"/>
          </a:xfrm>
          <a:prstGeom prst="rect">
            <a:avLst/>
          </a:prstGeom>
        </p:spPr>
      </p:pic>
      <p:pic>
        <p:nvPicPr>
          <p:cNvPr id="103" name="Grafik 102" descr="Datenbank Silhouette">
            <a:extLst>
              <a:ext uri="{FF2B5EF4-FFF2-40B4-BE49-F238E27FC236}">
                <a16:creationId xmlns:a16="http://schemas.microsoft.com/office/drawing/2014/main" id="{B08B056A-BE0F-5BD7-C091-64727F56D5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7233" y="4059108"/>
            <a:ext cx="522000" cy="522000"/>
          </a:xfrm>
          <a:prstGeom prst="rect">
            <a:avLst/>
          </a:prstGeom>
        </p:spPr>
      </p:pic>
      <p:sp>
        <p:nvSpPr>
          <p:cNvPr id="111" name="TextBox 86">
            <a:extLst>
              <a:ext uri="{FF2B5EF4-FFF2-40B4-BE49-F238E27FC236}">
                <a16:creationId xmlns:a16="http://schemas.microsoft.com/office/drawing/2014/main" id="{C76A866F-CF4C-0DB8-75D2-6ECF08BD60F6}"/>
              </a:ext>
            </a:extLst>
          </p:cNvPr>
          <p:cNvSpPr txBox="1"/>
          <p:nvPr/>
        </p:nvSpPr>
        <p:spPr>
          <a:xfrm>
            <a:off x="4924920" y="2307624"/>
            <a:ext cx="1392825" cy="1477328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irst open-source processor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ocused on event processing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Guarantees against loss of events in the case of failur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Low-Level-API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000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2" name="TextBox 90">
            <a:extLst>
              <a:ext uri="{FF2B5EF4-FFF2-40B4-BE49-F238E27FC236}">
                <a16:creationId xmlns:a16="http://schemas.microsoft.com/office/drawing/2014/main" id="{0DC8C1FF-845F-1DAC-C1A1-1BA0D49B7466}"/>
              </a:ext>
            </a:extLst>
          </p:cNvPr>
          <p:cNvSpPr txBox="1"/>
          <p:nvPr/>
        </p:nvSpPr>
        <p:spPr>
          <a:xfrm>
            <a:off x="4827516" y="1760022"/>
            <a:ext cx="1392826" cy="52322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First</a:t>
            </a:r>
          </a:p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400" noProof="1">
                <a:solidFill>
                  <a:schemeClr val="accent1">
                    <a:lumMod val="50000"/>
                  </a:schemeClr>
                </a:solidFill>
              </a:rPr>
              <a:t>Generation</a:t>
            </a:r>
          </a:p>
        </p:txBody>
      </p:sp>
      <p:pic>
        <p:nvPicPr>
          <p:cNvPr id="113" name="Grafik 112" descr="Zahnrad Silhouette">
            <a:extLst>
              <a:ext uri="{FF2B5EF4-FFF2-40B4-BE49-F238E27FC236}">
                <a16:creationId xmlns:a16="http://schemas.microsoft.com/office/drawing/2014/main" id="{5ED44348-712B-A7CA-67AF-F262236840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262929" y="4093166"/>
            <a:ext cx="522000" cy="522000"/>
          </a:xfrm>
          <a:prstGeom prst="rect">
            <a:avLst/>
          </a:prstGeom>
        </p:spPr>
      </p:pic>
      <p:sp>
        <p:nvSpPr>
          <p:cNvPr id="114" name="TextBox 87">
            <a:extLst>
              <a:ext uri="{FF2B5EF4-FFF2-40B4-BE49-F238E27FC236}">
                <a16:creationId xmlns:a16="http://schemas.microsoft.com/office/drawing/2014/main" id="{D1ED8898-9C87-A02C-E72A-5D5C2B110155}"/>
              </a:ext>
            </a:extLst>
          </p:cNvPr>
          <p:cNvSpPr txBox="1"/>
          <p:nvPr/>
        </p:nvSpPr>
        <p:spPr>
          <a:xfrm>
            <a:off x="6980564" y="2340856"/>
            <a:ext cx="1411553" cy="116955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Growing availability of mature open-source stream processors and communiti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mproving with new features and capabilities</a:t>
            </a:r>
          </a:p>
        </p:txBody>
      </p:sp>
      <p:sp>
        <p:nvSpPr>
          <p:cNvPr id="115" name="TextBox 90">
            <a:extLst>
              <a:ext uri="{FF2B5EF4-FFF2-40B4-BE49-F238E27FC236}">
                <a16:creationId xmlns:a16="http://schemas.microsoft.com/office/drawing/2014/main" id="{D2D3DB57-4C1C-5DC3-5921-22FB0121B0CB}"/>
              </a:ext>
            </a:extLst>
          </p:cNvPr>
          <p:cNvSpPr txBox="1"/>
          <p:nvPr/>
        </p:nvSpPr>
        <p:spPr>
          <a:xfrm>
            <a:off x="6898959" y="1767421"/>
            <a:ext cx="1392826" cy="52322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Second </a:t>
            </a:r>
            <a:r>
              <a:rPr lang="en-US" sz="1400" noProof="1">
                <a:solidFill>
                  <a:schemeClr val="accent1">
                    <a:lumMod val="50000"/>
                  </a:schemeClr>
                </a:solidFill>
              </a:rPr>
              <a:t>Generation</a:t>
            </a:r>
          </a:p>
        </p:txBody>
      </p:sp>
      <p:pic>
        <p:nvPicPr>
          <p:cNvPr id="116" name="Grafik 115" descr="Zahnräder Silhouette">
            <a:extLst>
              <a:ext uri="{FF2B5EF4-FFF2-40B4-BE49-F238E27FC236}">
                <a16:creationId xmlns:a16="http://schemas.microsoft.com/office/drawing/2014/main" id="{3BD92C39-3D82-5460-703C-49C0F18D76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93184" y="4060310"/>
            <a:ext cx="522000" cy="522000"/>
          </a:xfrm>
          <a:prstGeom prst="rect">
            <a:avLst/>
          </a:prstGeom>
        </p:spPr>
      </p:pic>
      <p:pic>
        <p:nvPicPr>
          <p:cNvPr id="121" name="Grafik 120" descr="Pfeil: Leichte Kurve mit einfarbiger Füllung">
            <a:extLst>
              <a:ext uri="{FF2B5EF4-FFF2-40B4-BE49-F238E27FC236}">
                <a16:creationId xmlns:a16="http://schemas.microsoft.com/office/drawing/2014/main" id="{4E26C177-5237-601A-9552-55B0B8FE83B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88002" y="4123234"/>
            <a:ext cx="522000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190343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3E863FCF-FB9E-B4A2-9F43-5A9264A6351D}"/>
              </a:ext>
            </a:extLst>
          </p:cNvPr>
          <p:cNvSpPr/>
          <p:nvPr/>
        </p:nvSpPr>
        <p:spPr bwMode="auto">
          <a:xfrm>
            <a:off x="3619714" y="1746521"/>
            <a:ext cx="1291319" cy="5688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12700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5B3F25-0BFD-41F6-3876-18FC49FC139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History</a:t>
            </a:r>
            <a:endParaRPr lang="de-DE" dirty="0"/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81ECA508-4491-919C-0883-FA03DED3F15A}"/>
              </a:ext>
            </a:extLst>
          </p:cNvPr>
          <p:cNvSpPr/>
          <p:nvPr/>
        </p:nvSpPr>
        <p:spPr>
          <a:xfrm>
            <a:off x="573088" y="1738410"/>
            <a:ext cx="3998912" cy="56921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 dirty="0"/>
          </a:p>
        </p:txBody>
      </p:sp>
      <p:sp>
        <p:nvSpPr>
          <p:cNvPr id="10" name="Freeform: Shape 34">
            <a:extLst>
              <a:ext uri="{FF2B5EF4-FFF2-40B4-BE49-F238E27FC236}">
                <a16:creationId xmlns:a16="http://schemas.microsoft.com/office/drawing/2014/main" id="{1181D5EC-4E2B-08FE-465D-3D354B3243E0}"/>
              </a:ext>
            </a:extLst>
          </p:cNvPr>
          <p:cNvSpPr/>
          <p:nvPr/>
        </p:nvSpPr>
        <p:spPr>
          <a:xfrm>
            <a:off x="3689293" y="1738410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14" name="Freeform: Shape 79">
            <a:extLst>
              <a:ext uri="{FF2B5EF4-FFF2-40B4-BE49-F238E27FC236}">
                <a16:creationId xmlns:a16="http://schemas.microsoft.com/office/drawing/2014/main" id="{E67068DA-A64E-960A-225C-8C2931621292}"/>
              </a:ext>
            </a:extLst>
          </p:cNvPr>
          <p:cNvSpPr/>
          <p:nvPr/>
        </p:nvSpPr>
        <p:spPr>
          <a:xfrm>
            <a:off x="2731768" y="1421231"/>
            <a:ext cx="1624015" cy="2940373"/>
          </a:xfrm>
          <a:custGeom>
            <a:avLst/>
            <a:gdLst>
              <a:gd name="connsiteX0" fmla="*/ 86292 w 2165353"/>
              <a:gd name="connsiteY0" fmla="*/ 0 h 3920497"/>
              <a:gd name="connsiteX1" fmla="*/ 172760 w 2165353"/>
              <a:gd name="connsiteY1" fmla="*/ 86251 h 3920497"/>
              <a:gd name="connsiteX2" fmla="*/ 105397 w 2165353"/>
              <a:gd name="connsiteY2" fmla="*/ 171718 h 3920497"/>
              <a:gd name="connsiteX3" fmla="*/ 105496 w 2165353"/>
              <a:gd name="connsiteY3" fmla="*/ 422906 h 3920497"/>
              <a:gd name="connsiteX4" fmla="*/ 2165353 w 2165353"/>
              <a:gd name="connsiteY4" fmla="*/ 422906 h 3920497"/>
              <a:gd name="connsiteX5" fmla="*/ 1484546 w 2165353"/>
              <a:gd name="connsiteY5" fmla="*/ 1181705 h 3920497"/>
              <a:gd name="connsiteX6" fmla="*/ 1481533 w 2165353"/>
              <a:gd name="connsiteY6" fmla="*/ 1181858 h 3920497"/>
              <a:gd name="connsiteX7" fmla="*/ 105794 w 2165353"/>
              <a:gd name="connsiteY7" fmla="*/ 1181858 h 3920497"/>
              <a:gd name="connsiteX8" fmla="*/ 106683 w 2165353"/>
              <a:gd name="connsiteY8" fmla="*/ 3442981 h 3920497"/>
              <a:gd name="connsiteX9" fmla="*/ 415338 w 2165353"/>
              <a:gd name="connsiteY9" fmla="*/ 3808763 h 3920497"/>
              <a:gd name="connsiteX10" fmla="*/ 497833 w 2165353"/>
              <a:gd name="connsiteY10" fmla="*/ 3747603 h 3920497"/>
              <a:gd name="connsiteX11" fmla="*/ 584242 w 2165353"/>
              <a:gd name="connsiteY11" fmla="*/ 3834246 h 3920497"/>
              <a:gd name="connsiteX12" fmla="*/ 497833 w 2165353"/>
              <a:gd name="connsiteY12" fmla="*/ 3920497 h 3920497"/>
              <a:gd name="connsiteX13" fmla="*/ 412709 w 2165353"/>
              <a:gd name="connsiteY13" fmla="*/ 3847968 h 3920497"/>
              <a:gd name="connsiteX14" fmla="*/ 67246 w 2165353"/>
              <a:gd name="connsiteY14" fmla="*/ 3440236 h 3920497"/>
              <a:gd name="connsiteX15" fmla="*/ 67246 w 2165353"/>
              <a:gd name="connsiteY15" fmla="*/ 171718 h 3920497"/>
              <a:gd name="connsiteX16" fmla="*/ 0 w 2165353"/>
              <a:gd name="connsiteY16" fmla="*/ 86251 h 3920497"/>
              <a:gd name="connsiteX17" fmla="*/ 86292 w 2165353"/>
              <a:gd name="connsiteY17" fmla="*/ 0 h 3920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5353" h="3920497">
                <a:moveTo>
                  <a:pt x="86292" y="0"/>
                </a:moveTo>
                <a:cubicBezTo>
                  <a:pt x="133324" y="0"/>
                  <a:pt x="172760" y="38029"/>
                  <a:pt x="172760" y="86251"/>
                </a:cubicBezTo>
                <a:cubicBezTo>
                  <a:pt x="172760" y="128200"/>
                  <a:pt x="143490" y="162701"/>
                  <a:pt x="105397" y="171718"/>
                </a:cubicBezTo>
                <a:lnTo>
                  <a:pt x="105496" y="422906"/>
                </a:lnTo>
                <a:lnTo>
                  <a:pt x="2165353" y="422906"/>
                </a:lnTo>
                <a:cubicBezTo>
                  <a:pt x="2165353" y="818184"/>
                  <a:pt x="1866244" y="1142686"/>
                  <a:pt x="1484546" y="1181705"/>
                </a:cubicBezTo>
                <a:lnTo>
                  <a:pt x="1481533" y="1181858"/>
                </a:lnTo>
                <a:lnTo>
                  <a:pt x="105794" y="1181858"/>
                </a:lnTo>
                <a:lnTo>
                  <a:pt x="106683" y="3442981"/>
                </a:lnTo>
                <a:cubicBezTo>
                  <a:pt x="106683" y="3626068"/>
                  <a:pt x="240007" y="3778183"/>
                  <a:pt x="415338" y="3808763"/>
                </a:cubicBezTo>
                <a:cubicBezTo>
                  <a:pt x="425445" y="3773086"/>
                  <a:pt x="458513" y="3747603"/>
                  <a:pt x="497833" y="3747603"/>
                </a:cubicBezTo>
                <a:cubicBezTo>
                  <a:pt x="544806" y="3747603"/>
                  <a:pt x="584242" y="3785632"/>
                  <a:pt x="584242" y="3834246"/>
                </a:cubicBezTo>
                <a:cubicBezTo>
                  <a:pt x="584242" y="3881292"/>
                  <a:pt x="546150" y="3920497"/>
                  <a:pt x="497833" y="3920497"/>
                </a:cubicBezTo>
                <a:cubicBezTo>
                  <a:pt x="456001" y="3920497"/>
                  <a:pt x="420362" y="3888741"/>
                  <a:pt x="412709" y="3847968"/>
                </a:cubicBezTo>
                <a:cubicBezTo>
                  <a:pt x="217221" y="3815036"/>
                  <a:pt x="67246" y="3644886"/>
                  <a:pt x="67246" y="3440236"/>
                </a:cubicBezTo>
                <a:lnTo>
                  <a:pt x="67246" y="171718"/>
                </a:lnTo>
                <a:cubicBezTo>
                  <a:pt x="27927" y="161524"/>
                  <a:pt x="0" y="127024"/>
                  <a:pt x="0" y="86251"/>
                </a:cubicBezTo>
                <a:cubicBezTo>
                  <a:pt x="0" y="39205"/>
                  <a:pt x="38092" y="0"/>
                  <a:pt x="8629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24" name="TextBox 89">
            <a:extLst>
              <a:ext uri="{FF2B5EF4-FFF2-40B4-BE49-F238E27FC236}">
                <a16:creationId xmlns:a16="http://schemas.microsoft.com/office/drawing/2014/main" id="{A4F2BC8E-A364-A8D5-0F22-25FFE374340B}"/>
              </a:ext>
            </a:extLst>
          </p:cNvPr>
          <p:cNvSpPr txBox="1"/>
          <p:nvPr/>
        </p:nvSpPr>
        <p:spPr>
          <a:xfrm>
            <a:off x="2885664" y="2340408"/>
            <a:ext cx="1411553" cy="1323439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Today stream processors power business-critical-applications in many enterprises across different industries (gaming, bacnking, social media …)</a:t>
            </a:r>
          </a:p>
        </p:txBody>
      </p:sp>
      <p:sp>
        <p:nvSpPr>
          <p:cNvPr id="64" name="TextBox 90">
            <a:extLst>
              <a:ext uri="{FF2B5EF4-FFF2-40B4-BE49-F238E27FC236}">
                <a16:creationId xmlns:a16="http://schemas.microsoft.com/office/drawing/2014/main" id="{0EA11D39-928E-867D-62D6-BD7CDF876D04}"/>
              </a:ext>
            </a:extLst>
          </p:cNvPr>
          <p:cNvSpPr txBox="1"/>
          <p:nvPr/>
        </p:nvSpPr>
        <p:spPr>
          <a:xfrm>
            <a:off x="736667" y="1313135"/>
            <a:ext cx="1392826" cy="41549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2015</a:t>
            </a:r>
          </a:p>
        </p:txBody>
      </p:sp>
      <p:sp>
        <p:nvSpPr>
          <p:cNvPr id="66" name="TextBox 90">
            <a:extLst>
              <a:ext uri="{FF2B5EF4-FFF2-40B4-BE49-F238E27FC236}">
                <a16:creationId xmlns:a16="http://schemas.microsoft.com/office/drawing/2014/main" id="{FB14746E-7653-823F-9211-1867EE6942F8}"/>
              </a:ext>
            </a:extLst>
          </p:cNvPr>
          <p:cNvSpPr txBox="1"/>
          <p:nvPr/>
        </p:nvSpPr>
        <p:spPr>
          <a:xfrm>
            <a:off x="2851324" y="1318024"/>
            <a:ext cx="1392826" cy="41549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2023</a:t>
            </a:r>
          </a:p>
        </p:txBody>
      </p:sp>
      <p:sp>
        <p:nvSpPr>
          <p:cNvPr id="77" name="TextBox 90">
            <a:extLst>
              <a:ext uri="{FF2B5EF4-FFF2-40B4-BE49-F238E27FC236}">
                <a16:creationId xmlns:a16="http://schemas.microsoft.com/office/drawing/2014/main" id="{2F54043F-96A7-3650-1523-5E7833F5617F}"/>
              </a:ext>
            </a:extLst>
          </p:cNvPr>
          <p:cNvSpPr txBox="1"/>
          <p:nvPr/>
        </p:nvSpPr>
        <p:spPr>
          <a:xfrm>
            <a:off x="2807403" y="1758942"/>
            <a:ext cx="1392826" cy="52322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Current </a:t>
            </a:r>
          </a:p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State</a:t>
            </a:r>
          </a:p>
        </p:txBody>
      </p:sp>
      <p:sp>
        <p:nvSpPr>
          <p:cNvPr id="85" name="Freeform: Shape 34">
            <a:extLst>
              <a:ext uri="{FF2B5EF4-FFF2-40B4-BE49-F238E27FC236}">
                <a16:creationId xmlns:a16="http://schemas.microsoft.com/office/drawing/2014/main" id="{6CCB4EDE-8A32-9440-97DC-9298F4E9B7E3}"/>
              </a:ext>
            </a:extLst>
          </p:cNvPr>
          <p:cNvSpPr/>
          <p:nvPr/>
        </p:nvSpPr>
        <p:spPr>
          <a:xfrm>
            <a:off x="1582559" y="1744424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86" name="Freeform: Shape 79">
            <a:extLst>
              <a:ext uri="{FF2B5EF4-FFF2-40B4-BE49-F238E27FC236}">
                <a16:creationId xmlns:a16="http://schemas.microsoft.com/office/drawing/2014/main" id="{34CFECC8-BEB9-DD9D-11DB-93A700527F84}"/>
              </a:ext>
            </a:extLst>
          </p:cNvPr>
          <p:cNvSpPr/>
          <p:nvPr/>
        </p:nvSpPr>
        <p:spPr>
          <a:xfrm>
            <a:off x="625034" y="1427245"/>
            <a:ext cx="1624015" cy="2940373"/>
          </a:xfrm>
          <a:custGeom>
            <a:avLst/>
            <a:gdLst>
              <a:gd name="connsiteX0" fmla="*/ 86292 w 2165353"/>
              <a:gd name="connsiteY0" fmla="*/ 0 h 3920497"/>
              <a:gd name="connsiteX1" fmla="*/ 172760 w 2165353"/>
              <a:gd name="connsiteY1" fmla="*/ 86251 h 3920497"/>
              <a:gd name="connsiteX2" fmla="*/ 105397 w 2165353"/>
              <a:gd name="connsiteY2" fmla="*/ 171718 h 3920497"/>
              <a:gd name="connsiteX3" fmla="*/ 105496 w 2165353"/>
              <a:gd name="connsiteY3" fmla="*/ 422906 h 3920497"/>
              <a:gd name="connsiteX4" fmla="*/ 2165353 w 2165353"/>
              <a:gd name="connsiteY4" fmla="*/ 422906 h 3920497"/>
              <a:gd name="connsiteX5" fmla="*/ 1484546 w 2165353"/>
              <a:gd name="connsiteY5" fmla="*/ 1181705 h 3920497"/>
              <a:gd name="connsiteX6" fmla="*/ 1481533 w 2165353"/>
              <a:gd name="connsiteY6" fmla="*/ 1181858 h 3920497"/>
              <a:gd name="connsiteX7" fmla="*/ 105794 w 2165353"/>
              <a:gd name="connsiteY7" fmla="*/ 1181858 h 3920497"/>
              <a:gd name="connsiteX8" fmla="*/ 106683 w 2165353"/>
              <a:gd name="connsiteY8" fmla="*/ 3442981 h 3920497"/>
              <a:gd name="connsiteX9" fmla="*/ 415338 w 2165353"/>
              <a:gd name="connsiteY9" fmla="*/ 3808763 h 3920497"/>
              <a:gd name="connsiteX10" fmla="*/ 497833 w 2165353"/>
              <a:gd name="connsiteY10" fmla="*/ 3747603 h 3920497"/>
              <a:gd name="connsiteX11" fmla="*/ 584242 w 2165353"/>
              <a:gd name="connsiteY11" fmla="*/ 3834246 h 3920497"/>
              <a:gd name="connsiteX12" fmla="*/ 497833 w 2165353"/>
              <a:gd name="connsiteY12" fmla="*/ 3920497 h 3920497"/>
              <a:gd name="connsiteX13" fmla="*/ 412709 w 2165353"/>
              <a:gd name="connsiteY13" fmla="*/ 3847968 h 3920497"/>
              <a:gd name="connsiteX14" fmla="*/ 67246 w 2165353"/>
              <a:gd name="connsiteY14" fmla="*/ 3440236 h 3920497"/>
              <a:gd name="connsiteX15" fmla="*/ 67246 w 2165353"/>
              <a:gd name="connsiteY15" fmla="*/ 171718 h 3920497"/>
              <a:gd name="connsiteX16" fmla="*/ 0 w 2165353"/>
              <a:gd name="connsiteY16" fmla="*/ 86251 h 3920497"/>
              <a:gd name="connsiteX17" fmla="*/ 86292 w 2165353"/>
              <a:gd name="connsiteY17" fmla="*/ 0 h 3920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5353" h="3920497">
                <a:moveTo>
                  <a:pt x="86292" y="0"/>
                </a:moveTo>
                <a:cubicBezTo>
                  <a:pt x="133324" y="0"/>
                  <a:pt x="172760" y="38029"/>
                  <a:pt x="172760" y="86251"/>
                </a:cubicBezTo>
                <a:cubicBezTo>
                  <a:pt x="172760" y="128200"/>
                  <a:pt x="143490" y="162701"/>
                  <a:pt x="105397" y="171718"/>
                </a:cubicBezTo>
                <a:lnTo>
                  <a:pt x="105496" y="422906"/>
                </a:lnTo>
                <a:lnTo>
                  <a:pt x="2165353" y="422906"/>
                </a:lnTo>
                <a:cubicBezTo>
                  <a:pt x="2165353" y="818184"/>
                  <a:pt x="1866244" y="1142686"/>
                  <a:pt x="1484546" y="1181705"/>
                </a:cubicBezTo>
                <a:lnTo>
                  <a:pt x="1481533" y="1181858"/>
                </a:lnTo>
                <a:lnTo>
                  <a:pt x="105794" y="1181858"/>
                </a:lnTo>
                <a:lnTo>
                  <a:pt x="106683" y="3442981"/>
                </a:lnTo>
                <a:cubicBezTo>
                  <a:pt x="106683" y="3626068"/>
                  <a:pt x="240007" y="3778183"/>
                  <a:pt x="415338" y="3808763"/>
                </a:cubicBezTo>
                <a:cubicBezTo>
                  <a:pt x="425445" y="3773086"/>
                  <a:pt x="458513" y="3747603"/>
                  <a:pt x="497833" y="3747603"/>
                </a:cubicBezTo>
                <a:cubicBezTo>
                  <a:pt x="544806" y="3747603"/>
                  <a:pt x="584242" y="3785632"/>
                  <a:pt x="584242" y="3834246"/>
                </a:cubicBezTo>
                <a:cubicBezTo>
                  <a:pt x="584242" y="3881292"/>
                  <a:pt x="546150" y="3920497"/>
                  <a:pt x="497833" y="3920497"/>
                </a:cubicBezTo>
                <a:cubicBezTo>
                  <a:pt x="456001" y="3920497"/>
                  <a:pt x="420362" y="3888741"/>
                  <a:pt x="412709" y="3847968"/>
                </a:cubicBezTo>
                <a:cubicBezTo>
                  <a:pt x="217221" y="3815036"/>
                  <a:pt x="67246" y="3644886"/>
                  <a:pt x="67246" y="3440236"/>
                </a:cubicBezTo>
                <a:lnTo>
                  <a:pt x="67246" y="171718"/>
                </a:lnTo>
                <a:cubicBezTo>
                  <a:pt x="27927" y="161524"/>
                  <a:pt x="0" y="127024"/>
                  <a:pt x="0" y="86251"/>
                </a:cubicBezTo>
                <a:cubicBezTo>
                  <a:pt x="0" y="39205"/>
                  <a:pt x="38092" y="0"/>
                  <a:pt x="8629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89" name="TextBox 86">
            <a:extLst>
              <a:ext uri="{FF2B5EF4-FFF2-40B4-BE49-F238E27FC236}">
                <a16:creationId xmlns:a16="http://schemas.microsoft.com/office/drawing/2014/main" id="{4942E08F-76CB-44FD-E1AF-8180EA6F22F5}"/>
              </a:ext>
            </a:extLst>
          </p:cNvPr>
          <p:cNvSpPr txBox="1"/>
          <p:nvPr/>
        </p:nvSpPr>
        <p:spPr>
          <a:xfrm>
            <a:off x="798024" y="2269831"/>
            <a:ext cx="1392825" cy="116955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irst open-source processor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ocused on event processing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Guarantees against loss of events in the case of failures</a:t>
            </a:r>
          </a:p>
        </p:txBody>
      </p:sp>
      <p:sp>
        <p:nvSpPr>
          <p:cNvPr id="93" name="TextBox 90">
            <a:extLst>
              <a:ext uri="{FF2B5EF4-FFF2-40B4-BE49-F238E27FC236}">
                <a16:creationId xmlns:a16="http://schemas.microsoft.com/office/drawing/2014/main" id="{14EBCBFD-C701-5839-0EBD-10547E7A04C6}"/>
              </a:ext>
            </a:extLst>
          </p:cNvPr>
          <p:cNvSpPr txBox="1"/>
          <p:nvPr/>
        </p:nvSpPr>
        <p:spPr>
          <a:xfrm>
            <a:off x="736667" y="1767421"/>
            <a:ext cx="1392826" cy="52322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Third </a:t>
            </a:r>
          </a:p>
          <a:p>
            <a:r>
              <a:rPr lang="en-US" sz="1400" noProof="1">
                <a:solidFill>
                  <a:schemeClr val="accent1">
                    <a:lumMod val="50000"/>
                  </a:schemeClr>
                </a:solidFill>
              </a:rPr>
              <a:t>Generation</a:t>
            </a:r>
          </a:p>
        </p:txBody>
      </p:sp>
      <p:pic>
        <p:nvPicPr>
          <p:cNvPr id="3" name="Grafik 2" descr="Bank Silhouette">
            <a:extLst>
              <a:ext uri="{FF2B5EF4-FFF2-40B4-BE49-F238E27FC236}">
                <a16:creationId xmlns:a16="http://schemas.microsoft.com/office/drawing/2014/main" id="{25396AC0-0668-EE09-65DC-AD0F57EE9D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9563" y="4581108"/>
            <a:ext cx="522000" cy="522000"/>
          </a:xfrm>
          <a:prstGeom prst="rect">
            <a:avLst/>
          </a:prstGeom>
        </p:spPr>
      </p:pic>
      <p:pic>
        <p:nvPicPr>
          <p:cNvPr id="6" name="Grafik 5" descr="Gamecontroller Silhouette">
            <a:extLst>
              <a:ext uri="{FF2B5EF4-FFF2-40B4-BE49-F238E27FC236}">
                <a16:creationId xmlns:a16="http://schemas.microsoft.com/office/drawing/2014/main" id="{B1AE48F2-1BF5-71B6-A547-45BF7302F0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42816" y="4059108"/>
            <a:ext cx="522000" cy="522000"/>
          </a:xfrm>
          <a:prstGeom prst="rect">
            <a:avLst/>
          </a:prstGeom>
        </p:spPr>
      </p:pic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8FA238C5-2BFB-8A5E-0C4E-0BE8A876BE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67090" y="1421231"/>
            <a:ext cx="3503822" cy="2498529"/>
          </a:xfrm>
        </p:spPr>
        <p:txBody>
          <a:bodyPr/>
          <a:lstStyle/>
          <a:p>
            <a:r>
              <a:rPr lang="de-DE" dirty="0"/>
              <a:t>More and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popular</a:t>
            </a:r>
            <a:r>
              <a:rPr lang="de-DE" dirty="0"/>
              <a:t> </a:t>
            </a:r>
            <a:r>
              <a:rPr lang="de-DE" dirty="0" err="1"/>
              <a:t>technolog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ompanies</a:t>
            </a:r>
            <a:r>
              <a:rPr lang="de-DE" dirty="0"/>
              <a:t> in </a:t>
            </a:r>
            <a:r>
              <a:rPr lang="de-DE" dirty="0" err="1"/>
              <a:t>big</a:t>
            </a:r>
            <a:r>
              <a:rPr lang="de-DE" dirty="0"/>
              <a:t> and </a:t>
            </a:r>
            <a:r>
              <a:rPr lang="de-DE" dirty="0" err="1"/>
              <a:t>small</a:t>
            </a:r>
            <a:endParaRPr lang="de-DE" dirty="0"/>
          </a:p>
          <a:p>
            <a:r>
              <a:rPr lang="de-DE" dirty="0"/>
              <a:t>Superior </a:t>
            </a:r>
            <a:r>
              <a:rPr lang="de-DE" dirty="0" err="1"/>
              <a:t>solut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ny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s</a:t>
            </a:r>
            <a:endParaRPr lang="de-DE" dirty="0"/>
          </a:p>
          <a:p>
            <a:r>
              <a:rPr lang="de-DE" dirty="0" err="1"/>
              <a:t>Facilitates</a:t>
            </a:r>
            <a:r>
              <a:rPr lang="de-DE" dirty="0"/>
              <a:t> </a:t>
            </a:r>
            <a:r>
              <a:rPr lang="de-DE" dirty="0" err="1"/>
              <a:t>novel</a:t>
            </a:r>
            <a:r>
              <a:rPr lang="de-DE" dirty="0"/>
              <a:t> </a:t>
            </a:r>
            <a:r>
              <a:rPr lang="de-DE" dirty="0" err="1"/>
              <a:t>applications</a:t>
            </a:r>
            <a:r>
              <a:rPr lang="de-DE" dirty="0"/>
              <a:t>, </a:t>
            </a:r>
            <a:r>
              <a:rPr lang="de-DE" dirty="0" err="1"/>
              <a:t>software</a:t>
            </a:r>
            <a:r>
              <a:rPr lang="de-DE" dirty="0"/>
              <a:t> </a:t>
            </a:r>
            <a:r>
              <a:rPr lang="de-DE" dirty="0" err="1"/>
              <a:t>architectures</a:t>
            </a:r>
            <a:r>
              <a:rPr lang="de-DE" dirty="0"/>
              <a:t> and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opportunities</a:t>
            </a:r>
            <a:endParaRPr lang="de-DE" dirty="0"/>
          </a:p>
        </p:txBody>
      </p:sp>
      <p:pic>
        <p:nvPicPr>
          <p:cNvPr id="15" name="Grafik 14" descr="Zahnrad Silhouette">
            <a:extLst>
              <a:ext uri="{FF2B5EF4-FFF2-40B4-BE49-F238E27FC236}">
                <a16:creationId xmlns:a16="http://schemas.microsoft.com/office/drawing/2014/main" id="{A17C24AA-AB18-5B7B-E54C-54501EAC64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6744" y="4048736"/>
            <a:ext cx="522000" cy="522000"/>
          </a:xfrm>
          <a:prstGeom prst="rect">
            <a:avLst/>
          </a:prstGeom>
        </p:spPr>
      </p:pic>
      <p:pic>
        <p:nvPicPr>
          <p:cNvPr id="17" name="Grafik 16" descr="Zahnräder Silhouette">
            <a:extLst>
              <a:ext uri="{FF2B5EF4-FFF2-40B4-BE49-F238E27FC236}">
                <a16:creationId xmlns:a16="http://schemas.microsoft.com/office/drawing/2014/main" id="{B6EBA269-F09F-ECA6-4FA0-83E743AF26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10581" y="4223596"/>
            <a:ext cx="522000" cy="522000"/>
          </a:xfrm>
          <a:prstGeom prst="rect">
            <a:avLst/>
          </a:prstGeom>
        </p:spPr>
      </p:pic>
      <p:pic>
        <p:nvPicPr>
          <p:cNvPr id="23" name="Grafik 22" descr="Internet Silhouette">
            <a:extLst>
              <a:ext uri="{FF2B5EF4-FFF2-40B4-BE49-F238E27FC236}">
                <a16:creationId xmlns:a16="http://schemas.microsoft.com/office/drawing/2014/main" id="{9180CC08-B595-3467-FD2E-6245CC0FB6D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178309" y="4491041"/>
            <a:ext cx="522000" cy="522000"/>
          </a:xfrm>
          <a:prstGeom prst="rect">
            <a:avLst/>
          </a:prstGeom>
        </p:spPr>
      </p:pic>
      <p:pic>
        <p:nvPicPr>
          <p:cNvPr id="26" name="Grafik 25" descr="Registrierkasse Silhouette">
            <a:extLst>
              <a:ext uri="{FF2B5EF4-FFF2-40B4-BE49-F238E27FC236}">
                <a16:creationId xmlns:a16="http://schemas.microsoft.com/office/drawing/2014/main" id="{24404571-1FC0-468C-D3B1-6098C99841A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937157" y="3962308"/>
            <a:ext cx="522000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755483"/>
      </p:ext>
    </p:extLst>
  </p:cSld>
  <p:clrMapOvr>
    <a:masterClrMapping/>
  </p:clrMapOvr>
  <p:transition>
    <p:dissolv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E03BE1-4DF0-0999-9048-0942253B6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207145-86CC-3342-E685-5F646A3DC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pache</a:t>
            </a:r>
          </a:p>
        </p:txBody>
      </p:sp>
      <p:pic>
        <p:nvPicPr>
          <p:cNvPr id="1028" name="Picture 4" descr="Apache Software Foundation – Wikipedia">
            <a:extLst>
              <a:ext uri="{FF2B5EF4-FFF2-40B4-BE49-F238E27FC236}">
                <a16:creationId xmlns:a16="http://schemas.microsoft.com/office/drawing/2014/main" id="{4DF3E18B-A6A1-34ED-E1A8-F6BBDFDA15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246" y="1713820"/>
            <a:ext cx="2892226" cy="1173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2B6DFD3-6CCD-4F12-C5DD-CB96DC84648A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75000"/>
          </a:blip>
          <a:stretch>
            <a:fillRect/>
          </a:stretch>
        </p:blipFill>
        <p:spPr>
          <a:xfrm>
            <a:off x="2029711" y="3594020"/>
            <a:ext cx="6607376" cy="1986176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26A3C6B7-379D-15EB-8090-904AC6C9271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BD772CD1-A248-6B54-95A3-16AD2C2A852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9137" b="8203"/>
          <a:stretch/>
        </p:blipFill>
        <p:spPr>
          <a:xfrm>
            <a:off x="4519513" y="1369331"/>
            <a:ext cx="4117574" cy="1986177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641696525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E03BE1-4DF0-0999-9048-0942253B6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207145-86CC-3342-E685-5F646A3DC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pache</a:t>
            </a: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26A3C6B7-379D-15EB-8090-904AC6C9271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7399C090-91B6-AD30-D0F3-30C2F9518E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5472" y="3725851"/>
            <a:ext cx="276849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36D90815-2DDB-FD8C-79F8-D937CFDC69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1305" y="4409016"/>
            <a:ext cx="1384708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7427D773-3842-4958-7557-B092A1DFC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6761" y="3405841"/>
            <a:ext cx="205714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C1CB41C3-F9F2-8014-5A4C-E292BAA5CA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261" y="4567131"/>
            <a:ext cx="1469596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>
            <a:extLst>
              <a:ext uri="{FF2B5EF4-FFF2-40B4-BE49-F238E27FC236}">
                <a16:creationId xmlns:a16="http://schemas.microsoft.com/office/drawing/2014/main" id="{9ED7E854-FC65-01DA-7C18-B90098B809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9746" y="4369917"/>
            <a:ext cx="1439999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>
            <a:extLst>
              <a:ext uri="{FF2B5EF4-FFF2-40B4-BE49-F238E27FC236}">
                <a16:creationId xmlns:a16="http://schemas.microsoft.com/office/drawing/2014/main" id="{EFB04D53-1BA8-55CB-E79F-7698EDB755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6656" y="1268134"/>
            <a:ext cx="3099531" cy="1258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5AFBBABF-C9AD-8F99-08B8-51EB391BDB52}"/>
              </a:ext>
            </a:extLst>
          </p:cNvPr>
          <p:cNvSpPr txBox="1"/>
          <p:nvPr/>
        </p:nvSpPr>
        <p:spPr>
          <a:xfrm>
            <a:off x="3541714" y="2290869"/>
            <a:ext cx="17875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dirty="0">
                <a:solidFill>
                  <a:schemeClr val="tx1"/>
                </a:solidFill>
              </a:rPr>
              <a:t>336 </a:t>
            </a:r>
            <a:r>
              <a:rPr lang="de-DE" sz="1800" dirty="0" err="1">
                <a:solidFill>
                  <a:schemeClr val="tx1"/>
                </a:solidFill>
              </a:rPr>
              <a:t>projects</a:t>
            </a: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73092"/>
      </p:ext>
    </p:extLst>
  </p:cSld>
  <p:clrMapOvr>
    <a:masterClrMapping/>
  </p:clrMapOvr>
  <p:transition>
    <p:dissolv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E03BE1-4DF0-0999-9048-0942253B6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207145-86CC-3342-E685-5F646A3DC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pache</a:t>
            </a: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26A3C6B7-379D-15EB-8090-904AC6C9271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7399C090-91B6-AD30-D0F3-30C2F9518E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1790" y="2997795"/>
            <a:ext cx="276849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4F4B54DA-E169-3352-9859-E4CE1F25FC38}"/>
              </a:ext>
            </a:extLst>
          </p:cNvPr>
          <p:cNvSpPr txBox="1"/>
          <p:nvPr/>
        </p:nvSpPr>
        <p:spPr>
          <a:xfrm>
            <a:off x="5094984" y="1477786"/>
            <a:ext cx="4572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/>
              <a:t>https://hadoop.apache.org/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1E3C01B-31A2-17FE-7CB8-F05867D75A48}"/>
              </a:ext>
            </a:extLst>
          </p:cNvPr>
          <p:cNvSpPr txBox="1"/>
          <p:nvPr/>
        </p:nvSpPr>
        <p:spPr>
          <a:xfrm>
            <a:off x="75652" y="1086306"/>
            <a:ext cx="5019332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Descripti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Hadoop = HDFS + MapReduce (Store + </a:t>
            </a:r>
            <a:r>
              <a:rPr lang="de-DE" sz="1400" dirty="0" err="1"/>
              <a:t>Process</a:t>
            </a:r>
            <a:r>
              <a:rPr lang="de-DE" sz="1400" dirty="0"/>
              <a:t>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Open source </a:t>
            </a:r>
            <a:r>
              <a:rPr lang="de-DE" sz="1400" dirty="0" err="1"/>
              <a:t>implementation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big</a:t>
            </a:r>
            <a:r>
              <a:rPr lang="de-DE" sz="1400" dirty="0"/>
              <a:t> </a:t>
            </a:r>
            <a:r>
              <a:rPr lang="de-DE" sz="1400" dirty="0" err="1"/>
              <a:t>data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Used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large-</a:t>
            </a:r>
            <a:r>
              <a:rPr lang="de-DE" sz="1400" dirty="0" err="1"/>
              <a:t>scale</a:t>
            </a:r>
            <a:r>
              <a:rPr lang="de-DE" sz="1400" dirty="0"/>
              <a:t>, </a:t>
            </a:r>
            <a:r>
              <a:rPr lang="de-DE" sz="1400" dirty="0" err="1"/>
              <a:t>massively</a:t>
            </a:r>
            <a:r>
              <a:rPr lang="de-DE" sz="1400" dirty="0"/>
              <a:t> parallel and </a:t>
            </a:r>
            <a:r>
              <a:rPr lang="de-DE" sz="1400" dirty="0" err="1"/>
              <a:t>distributed</a:t>
            </a:r>
            <a:r>
              <a:rPr lang="de-DE" sz="1400" dirty="0"/>
              <a:t> </a:t>
            </a:r>
            <a:r>
              <a:rPr lang="de-DE" sz="1400" dirty="0" err="1"/>
              <a:t>data</a:t>
            </a:r>
            <a:r>
              <a:rPr lang="de-DE" sz="1400" dirty="0"/>
              <a:t> </a:t>
            </a:r>
            <a:r>
              <a:rPr lang="de-DE" sz="1400" dirty="0" err="1"/>
              <a:t>processing</a:t>
            </a:r>
            <a:endParaRPr lang="de-DE" sz="1400" dirty="0"/>
          </a:p>
          <a:p>
            <a:pPr algn="l"/>
            <a:endParaRPr lang="de-DE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Advantages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Highly</a:t>
            </a:r>
            <a:r>
              <a:rPr lang="de-DE" sz="1400" dirty="0"/>
              <a:t> fault tolerant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Large-</a:t>
            </a:r>
            <a:r>
              <a:rPr lang="de-DE" sz="1400" dirty="0" err="1"/>
              <a:t>scale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Lowcost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Open source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Complex</a:t>
            </a:r>
            <a:r>
              <a:rPr lang="de-DE" sz="1400" dirty="0"/>
              <a:t> </a:t>
            </a:r>
            <a:r>
              <a:rPr lang="de-DE" sz="1400" dirty="0" err="1"/>
              <a:t>data</a:t>
            </a:r>
            <a:r>
              <a:rPr lang="de-DE" sz="1400" dirty="0"/>
              <a:t> </a:t>
            </a:r>
            <a:r>
              <a:rPr lang="de-DE" sz="1400" dirty="0" err="1"/>
              <a:t>analytics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Storage </a:t>
            </a:r>
            <a:r>
              <a:rPr lang="de-DE" sz="1400" dirty="0" err="1"/>
              <a:t>flexibility</a:t>
            </a:r>
            <a:r>
              <a:rPr lang="de-DE" sz="1400" dirty="0"/>
              <a:t> (</a:t>
            </a:r>
            <a:r>
              <a:rPr lang="de-DE" sz="1400" dirty="0" err="1"/>
              <a:t>unstructured</a:t>
            </a:r>
            <a:r>
              <a:rPr lang="de-DE" sz="1400" dirty="0"/>
              <a:t>, semi-</a:t>
            </a:r>
            <a:r>
              <a:rPr lang="de-DE" sz="1400" dirty="0" err="1"/>
              <a:t>structured</a:t>
            </a:r>
            <a:r>
              <a:rPr lang="de-DE" sz="1400" dirty="0"/>
              <a:t>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Widely</a:t>
            </a:r>
            <a:r>
              <a:rPr lang="de-DE" sz="1400" dirty="0"/>
              <a:t> </a:t>
            </a:r>
            <a:r>
              <a:rPr lang="de-DE" sz="1400" dirty="0" err="1"/>
              <a:t>accepted</a:t>
            </a:r>
            <a:r>
              <a:rPr lang="de-DE" sz="1400" dirty="0"/>
              <a:t> in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industry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Impressive</a:t>
            </a:r>
            <a:r>
              <a:rPr lang="de-DE" sz="1400" dirty="0"/>
              <a:t> </a:t>
            </a:r>
            <a:r>
              <a:rPr lang="de-DE" sz="1400" dirty="0" err="1"/>
              <a:t>benchmarks</a:t>
            </a:r>
            <a:r>
              <a:rPr lang="de-DE" sz="1400" dirty="0"/>
              <a:t>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Usecases</a:t>
            </a:r>
            <a:r>
              <a:rPr lang="de-DE" sz="1400" dirty="0"/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Searching</a:t>
            </a:r>
            <a:r>
              <a:rPr lang="de-DE" sz="1400" dirty="0"/>
              <a:t> / </a:t>
            </a:r>
            <a:r>
              <a:rPr lang="de-DE" sz="1400" dirty="0" err="1"/>
              <a:t>text</a:t>
            </a:r>
            <a:r>
              <a:rPr lang="de-DE" sz="1400" dirty="0"/>
              <a:t> </a:t>
            </a:r>
            <a:r>
              <a:rPr lang="de-DE" sz="1400" dirty="0" err="1"/>
              <a:t>mining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Log </a:t>
            </a:r>
            <a:r>
              <a:rPr lang="de-DE" sz="1400" dirty="0" err="1"/>
              <a:t>processing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Archiving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Video and </a:t>
            </a:r>
            <a:r>
              <a:rPr lang="de-DE" sz="1400" dirty="0" err="1"/>
              <a:t>image</a:t>
            </a:r>
            <a:r>
              <a:rPr lang="de-DE" sz="1400" dirty="0"/>
              <a:t> </a:t>
            </a:r>
            <a:r>
              <a:rPr lang="de-DE" sz="1400" dirty="0" err="1"/>
              <a:t>analysis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Graph </a:t>
            </a:r>
            <a:r>
              <a:rPr lang="de-DE" sz="1400" dirty="0" err="1"/>
              <a:t>creation</a:t>
            </a:r>
            <a:r>
              <a:rPr lang="de-DE" sz="1400" dirty="0"/>
              <a:t> and </a:t>
            </a:r>
            <a:r>
              <a:rPr lang="de-DE" sz="1400" dirty="0" err="1"/>
              <a:t>analyses</a:t>
            </a:r>
            <a:endParaRPr lang="de-DE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391454138"/>
      </p:ext>
    </p:extLst>
  </p:cSld>
  <p:clrMapOvr>
    <a:masterClrMapping/>
  </p:clrMapOvr>
  <p:transition>
    <p:dissolv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E03BE1-4DF0-0999-9048-0942253B6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207145-86CC-3342-E685-5F646A3DC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pache</a:t>
            </a: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26A3C6B7-379D-15EB-8090-904AC6C9271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F4B54DA-E169-3352-9859-E4CE1F25FC38}"/>
              </a:ext>
            </a:extLst>
          </p:cNvPr>
          <p:cNvSpPr txBox="1"/>
          <p:nvPr/>
        </p:nvSpPr>
        <p:spPr>
          <a:xfrm>
            <a:off x="5094984" y="1477786"/>
            <a:ext cx="4572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/>
              <a:t>https://projects.apache.org/project.html?spark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A9E7485-1016-45C4-A4F6-6AB6B3ED06AC}"/>
              </a:ext>
            </a:extLst>
          </p:cNvPr>
          <p:cNvSpPr txBox="1"/>
          <p:nvPr/>
        </p:nvSpPr>
        <p:spPr>
          <a:xfrm>
            <a:off x="249980" y="1678477"/>
            <a:ext cx="6124507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Description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Highly</a:t>
            </a:r>
            <a:r>
              <a:rPr lang="de-DE" sz="1400" dirty="0"/>
              <a:t> </a:t>
            </a:r>
            <a:r>
              <a:rPr lang="de-DE" sz="1400" dirty="0" err="1"/>
              <a:t>scalable</a:t>
            </a:r>
            <a:r>
              <a:rPr lang="de-DE" sz="1400" dirty="0"/>
              <a:t> in-memory </a:t>
            </a:r>
            <a:r>
              <a:rPr lang="de-DE" sz="1400" dirty="0" err="1"/>
              <a:t>data</a:t>
            </a:r>
            <a:r>
              <a:rPr lang="de-DE" sz="1400" dirty="0"/>
              <a:t> </a:t>
            </a:r>
            <a:r>
              <a:rPr lang="de-DE" sz="1400" dirty="0" err="1"/>
              <a:t>analytics</a:t>
            </a:r>
            <a:r>
              <a:rPr lang="de-DE" sz="1400" dirty="0"/>
              <a:t> </a:t>
            </a:r>
            <a:r>
              <a:rPr lang="de-DE" sz="1400" dirty="0" err="1"/>
              <a:t>system</a:t>
            </a:r>
            <a:endParaRPr lang="de-DE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DE" sz="1400" b="1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Advantages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Fast </a:t>
            </a:r>
            <a:r>
              <a:rPr lang="de-DE" sz="1400" dirty="0" err="1"/>
              <a:t>processing</a:t>
            </a:r>
            <a:r>
              <a:rPr lang="de-DE" sz="1400" dirty="0"/>
              <a:t> (in-memory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Flexibility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Complex</a:t>
            </a:r>
            <a:r>
              <a:rPr lang="de-DE" sz="1400" dirty="0"/>
              <a:t> </a:t>
            </a:r>
            <a:r>
              <a:rPr lang="de-DE" sz="1400" dirty="0" err="1"/>
              <a:t>analytics</a:t>
            </a:r>
            <a:r>
              <a:rPr lang="de-DE" sz="1400" dirty="0"/>
              <a:t> 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Same API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batch</a:t>
            </a:r>
            <a:r>
              <a:rPr lang="de-DE" sz="1400" dirty="0"/>
              <a:t> and stream, easy </a:t>
            </a:r>
            <a:r>
              <a:rPr lang="de-DE" sz="1400" dirty="0" err="1"/>
              <a:t>to</a:t>
            </a:r>
            <a:r>
              <a:rPr lang="de-DE" sz="1400" dirty="0"/>
              <a:t> switch </a:t>
            </a:r>
            <a:r>
              <a:rPr lang="de-DE" sz="1400" dirty="0" err="1"/>
              <a:t>between</a:t>
            </a:r>
            <a:r>
              <a:rPr lang="de-DE" sz="1400" dirty="0"/>
              <a:t> </a:t>
            </a:r>
            <a:r>
              <a:rPr lang="de-DE" sz="1400" dirty="0" err="1"/>
              <a:t>both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Micro-</a:t>
            </a:r>
            <a:r>
              <a:rPr lang="de-DE" sz="1400" dirty="0" err="1"/>
              <a:t>batching</a:t>
            </a:r>
            <a:r>
              <a:rPr lang="de-DE" sz="1400" dirty="0"/>
              <a:t> (</a:t>
            </a:r>
            <a:r>
              <a:rPr lang="de-DE" sz="1400" dirty="0" err="1"/>
              <a:t>many</a:t>
            </a:r>
            <a:r>
              <a:rPr lang="de-DE" sz="1400" dirty="0"/>
              <a:t> </a:t>
            </a:r>
            <a:r>
              <a:rPr lang="de-DE" sz="1400" dirty="0" err="1"/>
              <a:t>little</a:t>
            </a:r>
            <a:r>
              <a:rPr lang="de-DE" sz="1400" dirty="0"/>
              <a:t> </a:t>
            </a:r>
            <a:r>
              <a:rPr lang="de-DE" sz="1400" dirty="0" err="1"/>
              <a:t>tasks</a:t>
            </a:r>
            <a:r>
              <a:rPr lang="de-DE" sz="1400" dirty="0"/>
              <a:t> </a:t>
            </a:r>
            <a:r>
              <a:rPr lang="de-DE" sz="1400" dirty="0" err="1"/>
              <a:t>splited</a:t>
            </a:r>
            <a:r>
              <a:rPr lang="de-DE" sz="1400" dirty="0"/>
              <a:t>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Usecases</a:t>
            </a:r>
            <a:r>
              <a:rPr lang="de-DE" sz="1400" dirty="0"/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Machine</a:t>
            </a:r>
            <a:r>
              <a:rPr lang="de-DE" sz="1400" dirty="0"/>
              <a:t> </a:t>
            </a:r>
            <a:r>
              <a:rPr lang="de-DE" sz="1400" dirty="0" err="1"/>
              <a:t>learning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sz="1400" dirty="0" err="1"/>
              <a:t>MLlib</a:t>
            </a:r>
            <a:r>
              <a:rPr lang="de-DE" sz="1400" dirty="0"/>
              <a:t> (ML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Visualization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Spark </a:t>
            </a:r>
            <a:r>
              <a:rPr lang="de-DE" sz="1400" dirty="0" err="1"/>
              <a:t>GraphX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Database </a:t>
            </a:r>
            <a:r>
              <a:rPr lang="de-DE" sz="1400" dirty="0" err="1"/>
              <a:t>queries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Spark SQL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Stream </a:t>
            </a:r>
            <a:r>
              <a:rPr lang="de-DE" sz="1400" dirty="0" err="1"/>
              <a:t>processing</a:t>
            </a:r>
            <a:r>
              <a:rPr lang="de-DE" sz="1400" dirty="0"/>
              <a:t> (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sz="1400" dirty="0" err="1"/>
              <a:t>data</a:t>
            </a:r>
            <a:r>
              <a:rPr lang="de-DE" sz="1400" dirty="0"/>
              <a:t> </a:t>
            </a:r>
            <a:r>
              <a:rPr lang="de-DE" sz="1400" dirty="0" err="1"/>
              <a:t>sources</a:t>
            </a:r>
            <a:r>
              <a:rPr lang="de-DE" sz="1400" dirty="0"/>
              <a:t> like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example</a:t>
            </a:r>
            <a:r>
              <a:rPr lang="de-DE" sz="1400" dirty="0"/>
              <a:t> : Kafka, HDFS, Flume …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DE" sz="1400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3B23561D-C373-5397-960A-DD2947FE74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1643" y="1119395"/>
            <a:ext cx="1384708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7235451"/>
      </p:ext>
    </p:extLst>
  </p:cSld>
  <p:clrMapOvr>
    <a:masterClrMapping/>
  </p:clrMapOvr>
  <p:transition>
    <p:dissolv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E03BE1-4DF0-0999-9048-0942253B6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207145-86CC-3342-E685-5F646A3DC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pache</a:t>
            </a: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26A3C6B7-379D-15EB-8090-904AC6C9271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A9E7485-1016-45C4-A4F6-6AB6B3ED06AC}"/>
              </a:ext>
            </a:extLst>
          </p:cNvPr>
          <p:cNvSpPr txBox="1"/>
          <p:nvPr/>
        </p:nvSpPr>
        <p:spPr>
          <a:xfrm>
            <a:off x="506913" y="1417503"/>
            <a:ext cx="5019332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Description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Distributed, real-time and </a:t>
            </a:r>
            <a:r>
              <a:rPr lang="de-DE" sz="1400" dirty="0" err="1"/>
              <a:t>data</a:t>
            </a:r>
            <a:r>
              <a:rPr lang="de-DE" sz="1400" dirty="0"/>
              <a:t> </a:t>
            </a:r>
            <a:r>
              <a:rPr lang="de-DE" sz="1400" dirty="0" err="1"/>
              <a:t>processing</a:t>
            </a:r>
            <a:r>
              <a:rPr lang="de-DE" sz="1400" dirty="0"/>
              <a:t> </a:t>
            </a:r>
            <a:r>
              <a:rPr lang="de-DE" sz="1400" dirty="0" err="1"/>
              <a:t>platforms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Made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processing</a:t>
            </a:r>
            <a:r>
              <a:rPr lang="de-DE" sz="1400" dirty="0"/>
              <a:t> large </a:t>
            </a:r>
            <a:r>
              <a:rPr lang="de-DE" sz="1400" dirty="0" err="1"/>
              <a:t>amount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data</a:t>
            </a:r>
            <a:r>
              <a:rPr lang="de-DE" sz="1400" dirty="0"/>
              <a:t> in real time in a </a:t>
            </a:r>
            <a:r>
              <a:rPr lang="de-DE" sz="1400" dirty="0" err="1"/>
              <a:t>highly</a:t>
            </a:r>
            <a:r>
              <a:rPr lang="de-DE" sz="1400" dirty="0"/>
              <a:t> </a:t>
            </a:r>
            <a:r>
              <a:rPr lang="de-DE" sz="1400" dirty="0" err="1"/>
              <a:t>scalable</a:t>
            </a:r>
            <a:r>
              <a:rPr lang="de-DE" sz="1400" dirty="0"/>
              <a:t> </a:t>
            </a:r>
            <a:r>
              <a:rPr lang="de-DE" sz="1400" dirty="0" err="1"/>
              <a:t>maner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Storm </a:t>
            </a:r>
            <a:r>
              <a:rPr lang="de-DE" sz="1400" dirty="0" err="1"/>
              <a:t>is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real-time </a:t>
            </a:r>
            <a:r>
              <a:rPr lang="de-DE" sz="1400" dirty="0" err="1"/>
              <a:t>processing</a:t>
            </a:r>
            <a:r>
              <a:rPr lang="de-DE" sz="1400" dirty="0"/>
              <a:t> </a:t>
            </a:r>
            <a:r>
              <a:rPr lang="de-DE" sz="1400" dirty="0" err="1"/>
              <a:t>what</a:t>
            </a:r>
            <a:r>
              <a:rPr lang="de-DE" sz="1400" dirty="0"/>
              <a:t> Hadoop </a:t>
            </a:r>
            <a:r>
              <a:rPr lang="de-DE" sz="1400" dirty="0" err="1"/>
              <a:t>is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batch</a:t>
            </a:r>
            <a:r>
              <a:rPr lang="de-DE" sz="1400" dirty="0"/>
              <a:t> </a:t>
            </a:r>
            <a:r>
              <a:rPr lang="de-DE" sz="1400" dirty="0" err="1"/>
              <a:t>processing</a:t>
            </a:r>
            <a:endParaRPr lang="de-DE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Advatages</a:t>
            </a:r>
            <a:r>
              <a:rPr lang="de-DE" sz="1400" dirty="0"/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Fast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Horizontally</a:t>
            </a:r>
            <a:r>
              <a:rPr lang="de-DE" sz="1400" dirty="0"/>
              <a:t> </a:t>
            </a:r>
            <a:r>
              <a:rPr lang="de-DE" sz="1400" dirty="0" err="1"/>
              <a:t>scalable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Fault tolerant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Guaranteed</a:t>
            </a:r>
            <a:r>
              <a:rPr lang="de-DE" sz="1400" dirty="0"/>
              <a:t> </a:t>
            </a:r>
            <a:r>
              <a:rPr lang="de-DE" sz="1400" dirty="0" err="1"/>
              <a:t>data</a:t>
            </a:r>
            <a:r>
              <a:rPr lang="de-DE" sz="1400" dirty="0"/>
              <a:t> </a:t>
            </a:r>
            <a:r>
              <a:rPr lang="de-DE" sz="1400" dirty="0" err="1"/>
              <a:t>processing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Easy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operate</a:t>
            </a:r>
            <a:endParaRPr lang="de-DE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Usecases</a:t>
            </a:r>
            <a:r>
              <a:rPr lang="de-DE" sz="1400" dirty="0"/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Stream </a:t>
            </a:r>
            <a:r>
              <a:rPr lang="de-DE" sz="1400" dirty="0" err="1"/>
              <a:t>processing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 err="1"/>
              <a:t>Continuous</a:t>
            </a:r>
            <a:r>
              <a:rPr lang="de-DE" sz="1400" dirty="0"/>
              <a:t> </a:t>
            </a:r>
            <a:r>
              <a:rPr lang="de-DE" sz="1400" dirty="0" err="1"/>
              <a:t>computation</a:t>
            </a:r>
            <a:endParaRPr lang="de-DE" sz="1400" dirty="0"/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Distributed RPC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Real-time </a:t>
            </a:r>
            <a:r>
              <a:rPr lang="de-DE" sz="1400" dirty="0" err="1"/>
              <a:t>analytics</a:t>
            </a:r>
            <a:endParaRPr lang="de-DE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DE" sz="1400" dirty="0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C8576E74-6C1F-9498-88FF-F4EF0A292E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8590" y="2560575"/>
            <a:ext cx="205714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7186051"/>
      </p:ext>
    </p:extLst>
  </p:cSld>
  <p:clrMapOvr>
    <a:masterClrMapping/>
  </p:clrMapOvr>
  <p:transition>
    <p:dissolv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E03BE1-4DF0-0999-9048-0942253B6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207145-86CC-3342-E685-5F646A3DC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pache</a:t>
            </a: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26A3C6B7-379D-15EB-8090-904AC6C9271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00EB44E-118B-72B2-3274-544014DCE0F7}"/>
              </a:ext>
            </a:extLst>
          </p:cNvPr>
          <p:cNvSpPr txBox="1"/>
          <p:nvPr/>
        </p:nvSpPr>
        <p:spPr>
          <a:xfrm>
            <a:off x="1013843" y="1094112"/>
            <a:ext cx="6643436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/>
              <a:t>Kosten: Lambda billiger bei geringem Datenfluss</a:t>
            </a:r>
          </a:p>
          <a:p>
            <a:pPr algn="l"/>
            <a:r>
              <a:rPr lang="de-DE" sz="1600" dirty="0"/>
              <a:t>Implementierung: Lambda ist einfacher aufzusetzen </a:t>
            </a:r>
          </a:p>
          <a:p>
            <a:pPr algn="l"/>
            <a:r>
              <a:rPr lang="de-DE" sz="1600" dirty="0"/>
              <a:t>Robustheit: Lambda ist robuster, weil Speed Layer kann Fehler in einem Durchlauf machen (Batch korrigiert Speed)</a:t>
            </a:r>
          </a:p>
          <a:p>
            <a:pPr algn="l"/>
            <a:r>
              <a:rPr lang="de-DE" sz="1600" dirty="0"/>
              <a:t>Fehlerbehebung: Kappa schwieriger, da du dein System nicht „stoppen“ kannst</a:t>
            </a:r>
          </a:p>
          <a:p>
            <a:pPr algn="l"/>
            <a:r>
              <a:rPr lang="de-DE" sz="1600" dirty="0"/>
              <a:t> Art von ML: Lambda für ML-Ansätze mit historischen Daten (</a:t>
            </a:r>
            <a:r>
              <a:rPr lang="de-DE" sz="1600" dirty="0" err="1"/>
              <a:t>supervised</a:t>
            </a:r>
            <a:r>
              <a:rPr lang="de-DE" sz="1600" dirty="0"/>
              <a:t>)  und Kappa für eingehende Daten (semi-</a:t>
            </a:r>
            <a:r>
              <a:rPr lang="de-DE" sz="1600" dirty="0" err="1"/>
              <a:t>supervised</a:t>
            </a:r>
            <a:r>
              <a:rPr lang="de-DE" sz="1600" dirty="0"/>
              <a:t>)</a:t>
            </a:r>
          </a:p>
          <a:p>
            <a:pPr algn="l"/>
            <a:r>
              <a:rPr lang="de-DE" sz="1600" dirty="0"/>
              <a:t>Anforderungen von </a:t>
            </a:r>
            <a:r>
              <a:rPr lang="de-DE" sz="1600" dirty="0" err="1"/>
              <a:t>Consumern</a:t>
            </a:r>
            <a:r>
              <a:rPr lang="de-DE" sz="1600" dirty="0"/>
              <a:t>: Kappa, wenn Consumer eher Livedaten benötigen und die alten Daten interessieren die nicht z.B. Börse</a:t>
            </a:r>
          </a:p>
          <a:p>
            <a:pPr algn="l"/>
            <a:r>
              <a:rPr lang="de-DE" sz="1600" dirty="0"/>
              <a:t>Größe der Datenströme: Kappa verarbeitet eher die größeren Datenströme</a:t>
            </a:r>
          </a:p>
          <a:p>
            <a:pPr algn="l"/>
            <a:r>
              <a:rPr lang="de-DE" sz="1600" dirty="0"/>
              <a:t>Komplexität der Daten: Lambda besser bei komplexeren Berechnungen</a:t>
            </a:r>
          </a:p>
          <a:p>
            <a:pPr algn="l"/>
            <a:r>
              <a:rPr lang="de-DE" sz="1600" dirty="0"/>
              <a:t>Skalierbarkeit: Kappa einfacher zu skalieren (da nicht viele </a:t>
            </a:r>
            <a:r>
              <a:rPr lang="de-DE" sz="1600" dirty="0" err="1"/>
              <a:t>Layers</a:t>
            </a:r>
            <a:r>
              <a:rPr lang="de-DE" sz="1600" dirty="0"/>
              <a:t>)</a:t>
            </a:r>
          </a:p>
          <a:p>
            <a:pPr algn="l"/>
            <a:r>
              <a:rPr lang="de-DE" sz="1600" dirty="0"/>
              <a:t>Notwendigkeit der Historischen Daten im Berechnungsprozess: Lambda</a:t>
            </a:r>
          </a:p>
          <a:p>
            <a:pPr algn="l"/>
            <a:r>
              <a:rPr lang="de-DE" sz="1600" dirty="0"/>
              <a:t>Ressourcen: Lambda ist Ressourcenschonender (Hardwaretechnisch), wegen dem Batch Layer</a:t>
            </a:r>
            <a:endParaRPr lang="de-DE" sz="1600" u="sng" dirty="0"/>
          </a:p>
          <a:p>
            <a:pPr algn="l"/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313032631"/>
      </p:ext>
    </p:extLst>
  </p:cSld>
  <p:clrMapOvr>
    <a:masterClrMapping/>
  </p:clrMapOvr>
  <p:transition>
    <p:dissolv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C4504D7-3E22-724F-6319-500AE7BF4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85CCFC8-F558-33C0-C2A5-442E6114DA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eite 1/1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38137EB2-23CB-1E8C-ED42-024241D67A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200" dirty="0" err="1"/>
              <a:t>Zuweisung</a:t>
            </a:r>
            <a:r>
              <a:rPr lang="en-US" sz="1200" dirty="0"/>
              <a:t> Service </a:t>
            </a:r>
            <a:r>
              <a:rPr lang="en-US" sz="1200" dirty="0" err="1"/>
              <a:t>zu</a:t>
            </a:r>
            <a:r>
              <a:rPr lang="en-US" sz="1200" dirty="0"/>
              <a:t> </a:t>
            </a:r>
            <a:r>
              <a:rPr lang="en-US" sz="1200" dirty="0" err="1"/>
              <a:t>Architekturen</a:t>
            </a:r>
            <a:endParaRPr lang="de-DE" sz="1200" dirty="0"/>
          </a:p>
          <a:p>
            <a:pPr marL="0" indent="0">
              <a:buNone/>
            </a:pPr>
            <a:endParaRPr lang="en-US" sz="1200" dirty="0"/>
          </a:p>
          <a:p>
            <a:r>
              <a:rPr lang="en-US" sz="1200" dirty="0" err="1"/>
              <a:t>Inhalt</a:t>
            </a:r>
            <a:r>
              <a:rPr lang="en-US" sz="1200" dirty="0"/>
              <a:t> / </a:t>
            </a:r>
            <a:r>
              <a:rPr lang="en-US" sz="1200" dirty="0" err="1"/>
              <a:t>Inhaltsverzeichnis</a:t>
            </a:r>
            <a:r>
              <a:rPr lang="en-US" sz="1200" dirty="0"/>
              <a:t>, was </a:t>
            </a:r>
            <a:r>
              <a:rPr lang="en-US" sz="1200" dirty="0" err="1"/>
              <a:t>kommt</a:t>
            </a:r>
            <a:r>
              <a:rPr lang="en-US" sz="1200" dirty="0"/>
              <a:t> </a:t>
            </a:r>
            <a:r>
              <a:rPr lang="en-US" sz="1200" dirty="0" err="1"/>
              <a:t>alles</a:t>
            </a:r>
            <a:r>
              <a:rPr lang="en-US" sz="1200" dirty="0"/>
              <a:t> </a:t>
            </a:r>
            <a:r>
              <a:rPr lang="en-US" sz="1200" dirty="0" err="1"/>
              <a:t>vor</a:t>
            </a:r>
            <a:r>
              <a:rPr lang="en-US" sz="1200" dirty="0"/>
              <a:t>… ?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Grundlegende</a:t>
            </a:r>
            <a:r>
              <a:rPr lang="en-US" sz="1200" dirty="0"/>
              <a:t> </a:t>
            </a:r>
            <a:r>
              <a:rPr lang="en-US" sz="1200" dirty="0" err="1"/>
              <a:t>Architekturen</a:t>
            </a:r>
            <a:r>
              <a:rPr lang="en-US" sz="1200" dirty="0"/>
              <a:t>  (OLTP / OLAP)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Geschichte</a:t>
            </a:r>
            <a:r>
              <a:rPr lang="en-US" sz="1200" dirty="0"/>
              <a:t> von stream-processing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 </a:t>
            </a:r>
          </a:p>
          <a:p>
            <a:r>
              <a:rPr lang="en-US" sz="1200" dirty="0"/>
              <a:t>Lambda (</a:t>
            </a:r>
            <a:r>
              <a:rPr lang="en-US" sz="1200" dirty="0" err="1"/>
              <a:t>Allgemein</a:t>
            </a:r>
            <a:r>
              <a:rPr lang="en-US" sz="1200" dirty="0"/>
              <a:t>)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</a:t>
            </a:r>
          </a:p>
          <a:p>
            <a:pPr lvl="1"/>
            <a:r>
              <a:rPr lang="en-US" sz="1200" dirty="0" err="1"/>
              <a:t>Toolsüberblick</a:t>
            </a:r>
            <a:r>
              <a:rPr lang="en-US" sz="1200" dirty="0"/>
              <a:t> / Services für Lambda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</a:t>
            </a:r>
          </a:p>
          <a:p>
            <a:pPr lvl="1"/>
            <a:r>
              <a:rPr lang="en-US" sz="1200" dirty="0" err="1"/>
              <a:t>Anwendungsfall</a:t>
            </a:r>
            <a:r>
              <a:rPr lang="en-US" sz="1200" dirty="0"/>
              <a:t> für Lambda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</a:t>
            </a:r>
          </a:p>
          <a:p>
            <a:r>
              <a:rPr lang="en-US" sz="1200" dirty="0"/>
              <a:t>Kappa (</a:t>
            </a:r>
            <a:r>
              <a:rPr lang="en-US" sz="1200" dirty="0" err="1"/>
              <a:t>Allgemein</a:t>
            </a:r>
            <a:r>
              <a:rPr lang="en-US" sz="1200" dirty="0"/>
              <a:t>)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</a:t>
            </a:r>
          </a:p>
          <a:p>
            <a:pPr lvl="1"/>
            <a:r>
              <a:rPr lang="en-US" sz="1200" dirty="0" err="1"/>
              <a:t>Toolsüberblick</a:t>
            </a:r>
            <a:r>
              <a:rPr lang="en-US" sz="1200" dirty="0"/>
              <a:t> / Services für Kappa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</a:t>
            </a:r>
          </a:p>
          <a:p>
            <a:pPr lvl="1"/>
            <a:r>
              <a:rPr lang="en-US" sz="1200" dirty="0" err="1"/>
              <a:t>Anwendungsfall</a:t>
            </a:r>
            <a:r>
              <a:rPr lang="en-US" sz="1200" dirty="0"/>
              <a:t> für Kappa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</a:t>
            </a:r>
          </a:p>
          <a:p>
            <a:r>
              <a:rPr lang="en-US" sz="1200" dirty="0"/>
              <a:t>Lambda vs Kappa und </a:t>
            </a:r>
            <a:r>
              <a:rPr lang="en-US" sz="1200" dirty="0" err="1"/>
              <a:t>sonstige</a:t>
            </a:r>
            <a:r>
              <a:rPr lang="en-US" sz="1200" dirty="0"/>
              <a:t> </a:t>
            </a:r>
            <a:r>
              <a:rPr lang="en-US" sz="1200" dirty="0" err="1"/>
              <a:t>Architekturen</a:t>
            </a:r>
            <a:r>
              <a:rPr lang="en-US" sz="1200" dirty="0"/>
              <a:t> (</a:t>
            </a:r>
            <a:r>
              <a:rPr lang="en-US" sz="1200" dirty="0" err="1"/>
              <a:t>Blick</a:t>
            </a:r>
            <a:r>
              <a:rPr lang="en-US" sz="1200" dirty="0"/>
              <a:t> in die </a:t>
            </a:r>
            <a:r>
              <a:rPr lang="en-US" sz="1200" dirty="0" err="1"/>
              <a:t>Gegenwart</a:t>
            </a:r>
            <a:r>
              <a:rPr lang="en-US" sz="1200" dirty="0"/>
              <a:t>)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Zusammenfassung</a:t>
            </a:r>
            <a:r>
              <a:rPr lang="en-US" sz="1200" dirty="0"/>
              <a:t> / Outro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 </a:t>
            </a:r>
          </a:p>
          <a:p>
            <a:endParaRPr lang="en-US" sz="1200" dirty="0"/>
          </a:p>
          <a:p>
            <a:r>
              <a:rPr lang="en-US" sz="1200" dirty="0"/>
              <a:t>Kafka(Vlad), Spark(Vitali), </a:t>
            </a:r>
            <a:r>
              <a:rPr lang="en-US" sz="1200" dirty="0" err="1"/>
              <a:t>Flink</a:t>
            </a:r>
            <a:r>
              <a:rPr lang="en-US" sz="1200" dirty="0"/>
              <a:t>(Vlad), Hadoop(Vitali), Apache und </a:t>
            </a:r>
            <a:r>
              <a:rPr lang="en-US" sz="1200" dirty="0" err="1"/>
              <a:t>andere</a:t>
            </a:r>
            <a:r>
              <a:rPr lang="en-US" sz="1200" dirty="0"/>
              <a:t> (Vitali) </a:t>
            </a:r>
          </a:p>
          <a:p>
            <a:r>
              <a:rPr lang="en-US" sz="1200" dirty="0" err="1"/>
              <a:t>Welche</a:t>
            </a:r>
            <a:r>
              <a:rPr lang="en-US" sz="1200" dirty="0"/>
              <a:t> </a:t>
            </a:r>
            <a:r>
              <a:rPr lang="en-US" sz="1200" dirty="0" err="1"/>
              <a:t>sind</a:t>
            </a:r>
            <a:r>
              <a:rPr lang="en-US" sz="1200" dirty="0"/>
              <a:t> </a:t>
            </a:r>
            <a:r>
              <a:rPr lang="en-US" sz="1200" dirty="0" err="1"/>
              <a:t>erwähnenswert</a:t>
            </a:r>
            <a:r>
              <a:rPr lang="en-US" sz="1200" dirty="0"/>
              <a:t>?</a:t>
            </a:r>
          </a:p>
          <a:p>
            <a:endParaRPr lang="en-US" sz="1200" dirty="0"/>
          </a:p>
          <a:p>
            <a:r>
              <a:rPr lang="en-US" sz="1200" dirty="0"/>
              <a:t>Tool </a:t>
            </a:r>
            <a:r>
              <a:rPr lang="en-US" sz="1200" dirty="0" err="1"/>
              <a:t>darstellen</a:t>
            </a:r>
            <a:r>
              <a:rPr lang="en-US" sz="1200" dirty="0"/>
              <a:t> und </a:t>
            </a:r>
            <a:r>
              <a:rPr lang="en-US" sz="1200" dirty="0" err="1"/>
              <a:t>Begriffe</a:t>
            </a:r>
            <a:r>
              <a:rPr lang="en-US" sz="1200" dirty="0"/>
              <a:t> </a:t>
            </a:r>
            <a:r>
              <a:rPr lang="en-US" sz="1200" dirty="0" err="1"/>
              <a:t>wie</a:t>
            </a:r>
            <a:r>
              <a:rPr lang="en-US" sz="1200" dirty="0"/>
              <a:t> </a:t>
            </a:r>
            <a:r>
              <a:rPr lang="en-US" sz="1200" dirty="0" err="1"/>
              <a:t>z.B.</a:t>
            </a:r>
            <a:r>
              <a:rPr lang="en-US" sz="1200" dirty="0"/>
              <a:t> Broker </a:t>
            </a:r>
            <a:r>
              <a:rPr lang="en-US" sz="1200" dirty="0" err="1"/>
              <a:t>nutzen</a:t>
            </a:r>
            <a:r>
              <a:rPr lang="en-US" sz="1200" dirty="0"/>
              <a:t> </a:t>
            </a:r>
            <a:r>
              <a:rPr lang="en-US" sz="1200" dirty="0" err="1"/>
              <a:t>usw</a:t>
            </a:r>
            <a:r>
              <a:rPr lang="en-US" sz="1200" dirty="0"/>
              <a:t>.</a:t>
            </a:r>
          </a:p>
          <a:p>
            <a:r>
              <a:rPr lang="en-US" sz="1200" dirty="0"/>
              <a:t>Draw.io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1200" dirty="0"/>
              <a:t>ZUSATZ:</a:t>
            </a:r>
          </a:p>
          <a:p>
            <a:r>
              <a:rPr lang="en-US" sz="1200" dirty="0"/>
              <a:t>Unser </a:t>
            </a:r>
            <a:r>
              <a:rPr lang="en-US" sz="1200" dirty="0" err="1"/>
              <a:t>Anwendungsfall</a:t>
            </a:r>
            <a:r>
              <a:rPr lang="en-US" sz="1200" dirty="0"/>
              <a:t>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 /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 git</a:t>
            </a:r>
          </a:p>
        </p:txBody>
      </p:sp>
    </p:spTree>
    <p:extLst>
      <p:ext uri="{BB962C8B-B14F-4D97-AF65-F5344CB8AC3E}">
        <p14:creationId xmlns:p14="http://schemas.microsoft.com/office/powerpoint/2010/main" val="1831585448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5B3F25-0BFD-41F6-3876-18FC49FC139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, </a:t>
            </a:r>
            <a:r>
              <a:rPr lang="en-US" sz="900" dirty="0" err="1"/>
              <a:t>Kleppmann</a:t>
            </a:r>
            <a:r>
              <a:rPr lang="en-US" sz="900" dirty="0"/>
              <a:t>, M. (2017)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Traditional Infrastructure</a:t>
            </a:r>
          </a:p>
        </p:txBody>
      </p:sp>
      <p:pic>
        <p:nvPicPr>
          <p:cNvPr id="14" name="Grafik 13" descr="Ein Bild, das Text, Screenshot, Zahl, Diagramm enthält.&#10;&#10;Automatisch generierte Beschreibung">
            <a:extLst>
              <a:ext uri="{FF2B5EF4-FFF2-40B4-BE49-F238E27FC236}">
                <a16:creationId xmlns:a16="http://schemas.microsoft.com/office/drawing/2014/main" id="{B43DDF25-5049-257B-9AC3-CFE22E3703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5971" y="1305709"/>
            <a:ext cx="4772058" cy="4246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919099"/>
      </p:ext>
    </p:extLst>
  </p:cSld>
  <p:clrMapOvr>
    <a:masterClrMapping/>
  </p:clrMapOvr>
  <p:transition>
    <p:dissolv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C4504D7-3E22-724F-6319-500AE7BF4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85CCFC8-F558-33C0-C2A5-442E6114DA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eite 1/1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38137EB2-23CB-1E8C-ED42-024241D67A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200" dirty="0"/>
              <a:t>1. </a:t>
            </a:r>
            <a:r>
              <a:rPr lang="en-US" sz="1200" dirty="0" err="1"/>
              <a:t>Hueske</a:t>
            </a:r>
            <a:r>
              <a:rPr lang="en-US" sz="1200" dirty="0"/>
              <a:t>, F., &amp; </a:t>
            </a:r>
            <a:r>
              <a:rPr lang="en-US" sz="1200" dirty="0" err="1"/>
              <a:t>Kalavri</a:t>
            </a:r>
            <a:r>
              <a:rPr lang="en-US" sz="1200" dirty="0"/>
              <a:t>, V. (2019). Stream Processing with Apache </a:t>
            </a:r>
            <a:r>
              <a:rPr lang="en-US" sz="1200" dirty="0" err="1"/>
              <a:t>Flink</a:t>
            </a:r>
            <a:r>
              <a:rPr lang="en-US" sz="1200" dirty="0"/>
              <a:t> Fundamentals, Implementation, and Operation of Streaming Applications. O’Reilly Media.</a:t>
            </a:r>
          </a:p>
          <a:p>
            <a:r>
              <a:rPr lang="de-DE" sz="1200" dirty="0"/>
              <a:t>2. Marz, N. (2015). Big Data (p. 308). Manning.</a:t>
            </a:r>
          </a:p>
          <a:p>
            <a:r>
              <a:rPr lang="de-DE" sz="1200" dirty="0"/>
              <a:t>3. </a:t>
            </a:r>
            <a:r>
              <a:rPr lang="en-US" sz="1200" dirty="0" err="1"/>
              <a:t>Kleppmann</a:t>
            </a:r>
            <a:r>
              <a:rPr lang="en-US" sz="1200" dirty="0"/>
              <a:t>, M. (2017). Designing Data-Intensive Applications: The Big Ideas Behind Reliable, Scalable, and Maintainable Systems (p. 624). O’Reilly Media.</a:t>
            </a:r>
          </a:p>
          <a:p>
            <a:endParaRPr lang="de-DE" sz="1200" dirty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57898214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5B3F25-0BFD-41F6-3876-18FC49FC139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, </a:t>
            </a:r>
            <a:r>
              <a:rPr lang="en-US" sz="900" dirty="0" err="1"/>
              <a:t>Kleppmann</a:t>
            </a:r>
            <a:r>
              <a:rPr lang="en-US" sz="900" dirty="0"/>
              <a:t>, M. (2017)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History</a:t>
            </a:r>
            <a:endParaRPr lang="de-DE" dirty="0"/>
          </a:p>
        </p:txBody>
      </p:sp>
      <p:pic>
        <p:nvPicPr>
          <p:cNvPr id="8" name="Grafik 7" descr="Ein Bild, das Text, Screenshot, Diagramm, Reihe enthält.&#10;&#10;Automatisch generierte Beschreibung">
            <a:extLst>
              <a:ext uri="{FF2B5EF4-FFF2-40B4-BE49-F238E27FC236}">
                <a16:creationId xmlns:a16="http://schemas.microsoft.com/office/drawing/2014/main" id="{8B1D4A59-5B46-A799-A6BF-09D8ADCB0A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1843812"/>
            <a:ext cx="7703327" cy="267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7651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Lambda Architecture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3675987C-4F66-C465-DF77-15CE1702267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|</a:t>
            </a:r>
            <a:r>
              <a:rPr lang="de-DE" sz="900" dirty="0"/>
              <a:t> 2. Marz, N. (2015)</a:t>
            </a:r>
            <a:endParaRPr lang="de-DE" dirty="0"/>
          </a:p>
        </p:txBody>
      </p:sp>
      <p:pic>
        <p:nvPicPr>
          <p:cNvPr id="10" name="Grafik 9" descr="Ein Bild, das Text, Screenshot, Schrift, Diagramm enthält.&#10;&#10;Automatisch generierte Beschreibung">
            <a:extLst>
              <a:ext uri="{FF2B5EF4-FFF2-40B4-BE49-F238E27FC236}">
                <a16:creationId xmlns:a16="http://schemas.microsoft.com/office/drawing/2014/main" id="{F7FCCDDC-8188-643F-61E8-4FE43589FA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000" y="1809000"/>
            <a:ext cx="763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608454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Lambda Architecture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3675987C-4F66-C465-DF77-15CE1702267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|</a:t>
            </a:r>
            <a:r>
              <a:rPr lang="de-DE" sz="900" dirty="0"/>
              <a:t> 2. Marz, N. (2015)</a:t>
            </a:r>
            <a:endParaRPr lang="de-DE" dirty="0"/>
          </a:p>
        </p:txBody>
      </p:sp>
      <p:pic>
        <p:nvPicPr>
          <p:cNvPr id="4" name="Grafik 3" descr="Ein Bild, das Text, Screenshot, Schrift, Diagramm enthält.&#10;&#10;Automatisch generierte Beschreibung">
            <a:extLst>
              <a:ext uri="{FF2B5EF4-FFF2-40B4-BE49-F238E27FC236}">
                <a16:creationId xmlns:a16="http://schemas.microsoft.com/office/drawing/2014/main" id="{7BDB311C-289C-FF13-15EF-19D181B6AB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087" y="1809000"/>
            <a:ext cx="762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179309"/>
      </p:ext>
    </p:extLst>
  </p:cSld>
  <p:clrMapOvr>
    <a:masterClrMapping/>
  </p:clrMapOvr>
  <p:transition>
    <p:dissolv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Lambda Architecture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3675987C-4F66-C465-DF77-15CE1702267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|</a:t>
            </a:r>
            <a:r>
              <a:rPr lang="de-DE" sz="900" dirty="0"/>
              <a:t> 2. Marz, N. (2015)</a:t>
            </a:r>
            <a:endParaRPr lang="de-DE" dirty="0"/>
          </a:p>
        </p:txBody>
      </p:sp>
      <p:pic>
        <p:nvPicPr>
          <p:cNvPr id="6" name="Grafik 5" descr="Ein Bild, das Text, Screenshot, Schrift, Diagramm enthält.&#10;&#10;Automatisch generierte Beschreibung">
            <a:extLst>
              <a:ext uri="{FF2B5EF4-FFF2-40B4-BE49-F238E27FC236}">
                <a16:creationId xmlns:a16="http://schemas.microsoft.com/office/drawing/2014/main" id="{3BF68E86-116C-EADC-566E-C341D3B917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3625" y="2281237"/>
            <a:ext cx="4476750" cy="2295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409758"/>
      </p:ext>
    </p:extLst>
  </p:cSld>
  <p:clrMapOvr>
    <a:masterClrMapping/>
  </p:clrMapOvr>
  <p:transition>
    <p:dissolv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Lambda Architecture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3675987C-4F66-C465-DF77-15CE1702267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|</a:t>
            </a:r>
            <a:r>
              <a:rPr lang="de-DE" sz="900" dirty="0"/>
              <a:t> 2. Marz, N. (2015)</a:t>
            </a:r>
            <a:endParaRPr lang="de-DE" dirty="0"/>
          </a:p>
        </p:txBody>
      </p:sp>
      <p:pic>
        <p:nvPicPr>
          <p:cNvPr id="8" name="Grafik 7" descr="Ein Bild, das Text, Diagramm, Screenshot, Plan enthält.&#10;&#10;Automatisch generierte Beschreibung">
            <a:extLst>
              <a:ext uri="{FF2B5EF4-FFF2-40B4-BE49-F238E27FC236}">
                <a16:creationId xmlns:a16="http://schemas.microsoft.com/office/drawing/2014/main" id="{B5F0D68B-096E-C58F-EE91-9F0503D100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0989" y="1238250"/>
            <a:ext cx="5581650" cy="438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348506"/>
      </p:ext>
    </p:extLst>
  </p:cSld>
  <p:clrMapOvr>
    <a:masterClrMapping/>
  </p:clrMapOvr>
  <p:transition>
    <p:dissolv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Lambda Architecture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3675987C-4F66-C465-DF77-15CE1702267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|</a:t>
            </a:r>
            <a:r>
              <a:rPr lang="de-DE" sz="900" dirty="0"/>
              <a:t> 2. Marz, N. (2015)</a:t>
            </a:r>
            <a:endParaRPr lang="de-DE" dirty="0"/>
          </a:p>
        </p:txBody>
      </p:sp>
      <p:pic>
        <p:nvPicPr>
          <p:cNvPr id="4" name="Grafik 3" descr="Ein Bild, das Text, Screenshot, Diagramm, Plan enthält.&#10;&#10;Automatisch generierte Beschreibung">
            <a:extLst>
              <a:ext uri="{FF2B5EF4-FFF2-40B4-BE49-F238E27FC236}">
                <a16:creationId xmlns:a16="http://schemas.microsoft.com/office/drawing/2014/main" id="{AEAB0C08-1437-EFD2-3769-78AACF94B5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3845" y="1234939"/>
            <a:ext cx="3868293" cy="4205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524661"/>
      </p:ext>
    </p:extLst>
  </p:cSld>
  <p:clrMapOvr>
    <a:masterClrMapping/>
  </p:clrMapOvr>
  <p:transition>
    <p:dissolv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Lambda Architecture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3675987C-4F66-C465-DF77-15CE1702267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|</a:t>
            </a:r>
            <a:r>
              <a:rPr lang="de-DE" sz="900" dirty="0"/>
              <a:t> 2. Marz, N. (2015)</a:t>
            </a:r>
            <a:endParaRPr lang="de-DE" dirty="0"/>
          </a:p>
        </p:txBody>
      </p:sp>
      <p:pic>
        <p:nvPicPr>
          <p:cNvPr id="6" name="Grafik 5" descr="Ein Bild, das Text, Schrift, Screenshot, Reihe enthält.&#10;&#10;Automatisch generierte Beschreibung">
            <a:extLst>
              <a:ext uri="{FF2B5EF4-FFF2-40B4-BE49-F238E27FC236}">
                <a16:creationId xmlns:a16="http://schemas.microsoft.com/office/drawing/2014/main" id="{AF3366F6-D3C6-F3F0-6CB3-D39FA7DF86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6362" y="2146634"/>
            <a:ext cx="6391275" cy="2009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816452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1050</Words>
  <Application>Microsoft Office PowerPoint</Application>
  <PresentationFormat>Bildschirmpräsentation (4:3)</PresentationFormat>
  <Paragraphs>176</Paragraphs>
  <Slides>20</Slides>
  <Notes>4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  <vt:variant>
        <vt:lpstr>Zielgruppenorientierte Präsentationen</vt:lpstr>
      </vt:variant>
      <vt:variant>
        <vt:i4>1</vt:i4>
      </vt:variant>
    </vt:vector>
  </HeadingPairs>
  <TitlesOfParts>
    <vt:vector size="27" baseType="lpstr">
      <vt:lpstr>Arial</vt:lpstr>
      <vt:lpstr>Syntax</vt:lpstr>
      <vt:lpstr>Times</vt:lpstr>
      <vt:lpstr>Wingdings</vt:lpstr>
      <vt:lpstr>Leere Präsentation</vt:lpstr>
      <vt:lpstr>think-cell Folie</vt:lpstr>
      <vt:lpstr>Data Analysis in Big Data</vt:lpstr>
      <vt:lpstr>Stream Processing</vt:lpstr>
      <vt:lpstr>Stream Processing</vt:lpstr>
      <vt:lpstr>Stream Processing</vt:lpstr>
      <vt:lpstr>Stream Processing</vt:lpstr>
      <vt:lpstr>Stream Processing</vt:lpstr>
      <vt:lpstr>Stream Processing</vt:lpstr>
      <vt:lpstr>Stream Processing</vt:lpstr>
      <vt:lpstr>Stream Processing</vt:lpstr>
      <vt:lpstr>Stream Processing</vt:lpstr>
      <vt:lpstr>Stream Processing</vt:lpstr>
      <vt:lpstr>Stream Processing</vt:lpstr>
      <vt:lpstr>Stream Processing</vt:lpstr>
      <vt:lpstr>Stream Processing</vt:lpstr>
      <vt:lpstr>Stream Processing</vt:lpstr>
      <vt:lpstr>Stream Processing</vt:lpstr>
      <vt:lpstr>Stream Processing</vt:lpstr>
      <vt:lpstr>Stream Processing</vt:lpstr>
      <vt:lpstr>Literatur</vt:lpstr>
      <vt:lpstr>Literatur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Vitali K</cp:lastModifiedBy>
  <cp:revision>549</cp:revision>
  <cp:lastPrinted>2010-04-29T14:30:22Z</cp:lastPrinted>
  <dcterms:created xsi:type="dcterms:W3CDTF">2010-04-29T12:39:23Z</dcterms:created>
  <dcterms:modified xsi:type="dcterms:W3CDTF">2023-07-13T18:11:54Z</dcterms:modified>
</cp:coreProperties>
</file>